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drawings/drawing1.xml" ContentType="application/vnd.openxmlformats-officedocument.drawingml.chartshape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92" r:id="rId2"/>
  </p:sldMasterIdLst>
  <p:notesMasterIdLst>
    <p:notesMasterId r:id="rId20"/>
  </p:notesMasterIdLst>
  <p:handoutMasterIdLst>
    <p:handoutMasterId r:id="rId21"/>
  </p:handoutMasterIdLst>
  <p:sldIdLst>
    <p:sldId id="315" r:id="rId3"/>
    <p:sldId id="505" r:id="rId4"/>
    <p:sldId id="506" r:id="rId5"/>
    <p:sldId id="507" r:id="rId6"/>
    <p:sldId id="508" r:id="rId7"/>
    <p:sldId id="499" r:id="rId8"/>
    <p:sldId id="500" r:id="rId9"/>
    <p:sldId id="538" r:id="rId10"/>
    <p:sldId id="482" r:id="rId11"/>
    <p:sldId id="535" r:id="rId12"/>
    <p:sldId id="528" r:id="rId13"/>
    <p:sldId id="536" r:id="rId14"/>
    <p:sldId id="537" r:id="rId15"/>
    <p:sldId id="514" r:id="rId16"/>
    <p:sldId id="534" r:id="rId17"/>
    <p:sldId id="504" r:id="rId18"/>
    <p:sldId id="501" r:id="rId19"/>
  </p:sldIdLst>
  <p:sldSz cx="11520488" cy="6480175"/>
  <p:notesSz cx="6797675" cy="9926638"/>
  <p:custDataLst>
    <p:tags r:id="rId22"/>
  </p:custDataLst>
  <p:defaultTextStyle>
    <a:defPPr>
      <a:defRPr lang="de-DE"/>
    </a:defPPr>
    <a:lvl1pPr marL="0" indent="0" algn="l" defTabSz="1151849" rtl="0" eaLnBrk="1" latinLnBrk="0" hangingPunct="1">
      <a:lnSpc>
        <a:spcPct val="107000"/>
      </a:lnSpc>
      <a:spcBef>
        <a:spcPts val="0"/>
      </a:spcBef>
      <a:spcAft>
        <a:spcPts val="0"/>
      </a:spcAft>
      <a:buFont typeface="Arial" panose="020B0604020202020204" pitchFamily="34" charset="0"/>
      <a:buNone/>
      <a:defRPr sz="2142" b="0" kern="600">
        <a:solidFill>
          <a:schemeClr val="tx1"/>
        </a:solidFill>
        <a:latin typeface="+mn-lt"/>
        <a:ea typeface="+mn-ea"/>
        <a:cs typeface="+mn-cs"/>
      </a:defRPr>
    </a:lvl1pPr>
    <a:lvl2pPr marL="272090" indent="-272090" algn="l" defTabSz="1151849" rtl="0" eaLnBrk="1" latinLnBrk="0" hangingPunct="1">
      <a:lnSpc>
        <a:spcPct val="107000"/>
      </a:lnSpc>
      <a:spcBef>
        <a:spcPts val="0"/>
      </a:spcBef>
      <a:spcAft>
        <a:spcPts val="0"/>
      </a:spcAft>
      <a:buFont typeface="Calibri" panose="020F0502020204030204" pitchFamily="34" charset="0"/>
      <a:buChar char="•"/>
      <a:defRPr sz="2142" kern="600">
        <a:solidFill>
          <a:schemeClr val="tx1"/>
        </a:solidFill>
        <a:latin typeface="+mn-lt"/>
        <a:ea typeface="+mn-ea"/>
        <a:cs typeface="+mn-cs"/>
      </a:defRPr>
    </a:lvl2pPr>
    <a:lvl3pPr marL="0" indent="0" algn="l" defTabSz="1151849" rtl="0" eaLnBrk="1" latinLnBrk="0" hangingPunct="1">
      <a:lnSpc>
        <a:spcPct val="107000"/>
      </a:lnSpc>
      <a:spcBef>
        <a:spcPts val="0"/>
      </a:spcBef>
      <a:spcAft>
        <a:spcPts val="0"/>
      </a:spcAft>
      <a:buFont typeface="Calibri" panose="020F0502020204030204" pitchFamily="34" charset="0"/>
      <a:buNone/>
      <a:defRPr sz="1890" kern="600">
        <a:solidFill>
          <a:schemeClr val="tx1"/>
        </a:solidFill>
        <a:latin typeface="+mn-lt"/>
        <a:ea typeface="+mn-ea"/>
        <a:cs typeface="+mn-cs"/>
      </a:defRPr>
    </a:lvl3pPr>
    <a:lvl4pPr marL="226743" indent="-226743" algn="l" defTabSz="1151849" rtl="0" eaLnBrk="1" latinLnBrk="0" hangingPunct="1">
      <a:lnSpc>
        <a:spcPct val="107000"/>
      </a:lnSpc>
      <a:spcBef>
        <a:spcPts val="0"/>
      </a:spcBef>
      <a:buFont typeface="Calibri" panose="020F0502020204030204" pitchFamily="34" charset="0"/>
      <a:buChar char="•"/>
      <a:defRPr sz="1890" b="0" kern="600" cap="none" baseline="0">
        <a:solidFill>
          <a:schemeClr val="tx1"/>
        </a:solidFill>
        <a:latin typeface="+mn-lt"/>
        <a:ea typeface="+mn-ea"/>
        <a:cs typeface="+mn-cs"/>
      </a:defRPr>
    </a:lvl4pPr>
    <a:lvl5pPr marL="0" indent="0" algn="l" defTabSz="1151849" rtl="0" eaLnBrk="1" latinLnBrk="0" hangingPunct="1">
      <a:lnSpc>
        <a:spcPct val="107000"/>
      </a:lnSpc>
      <a:spcBef>
        <a:spcPts val="0"/>
      </a:spcBef>
      <a:buFont typeface="Arial" panose="020B0604020202020204" pitchFamily="34" charset="0"/>
      <a:buNone/>
      <a:defRPr sz="1638" b="0" i="0" kern="600">
        <a:solidFill>
          <a:schemeClr val="tx1"/>
        </a:solidFill>
        <a:latin typeface="+mn-lt"/>
        <a:ea typeface="+mn-ea"/>
        <a:cs typeface="+mn-cs"/>
      </a:defRPr>
    </a:lvl5pPr>
    <a:lvl6pPr marL="181394" indent="-181394" algn="l" defTabSz="1151849" rtl="0" eaLnBrk="1" latinLnBrk="0" hangingPunct="1">
      <a:lnSpc>
        <a:spcPct val="107000"/>
      </a:lnSpc>
      <a:spcBef>
        <a:spcPts val="0"/>
      </a:spcBef>
      <a:buFont typeface="Calibri" panose="020F0502020204030204" pitchFamily="34" charset="0"/>
      <a:buChar char="•"/>
      <a:defRPr sz="1638" b="0" kern="600">
        <a:solidFill>
          <a:schemeClr val="tx1"/>
        </a:solidFill>
        <a:latin typeface="+mn-lt"/>
        <a:ea typeface="+mn-ea"/>
        <a:cs typeface="+mn-cs"/>
      </a:defRPr>
    </a:lvl6pPr>
    <a:lvl7pPr marL="0" indent="0" algn="l" defTabSz="1151849" rtl="0" eaLnBrk="1" latinLnBrk="0" hangingPunct="1">
      <a:lnSpc>
        <a:spcPct val="107000"/>
      </a:lnSpc>
      <a:spcBef>
        <a:spcPts val="0"/>
      </a:spcBef>
      <a:buFont typeface="Arial" panose="020B0604020202020204" pitchFamily="34" charset="0"/>
      <a:buNone/>
      <a:defRPr sz="1386" kern="600">
        <a:solidFill>
          <a:schemeClr val="tx1"/>
        </a:solidFill>
        <a:latin typeface="+mn-lt"/>
        <a:ea typeface="+mn-ea"/>
        <a:cs typeface="+mn-cs"/>
      </a:defRPr>
    </a:lvl7pPr>
    <a:lvl8pPr marL="181394" indent="-181394" algn="l" defTabSz="1151849" rtl="0" eaLnBrk="1" latinLnBrk="0" hangingPunct="1">
      <a:lnSpc>
        <a:spcPct val="107000"/>
      </a:lnSpc>
      <a:spcBef>
        <a:spcPts val="0"/>
      </a:spcBef>
      <a:buFont typeface="Calibri" panose="020F0502020204030204" pitchFamily="34" charset="0"/>
      <a:buChar char="•"/>
      <a:defRPr sz="1386" kern="1200" baseline="0">
        <a:solidFill>
          <a:schemeClr val="tx1"/>
        </a:solidFill>
        <a:latin typeface="+mn-lt"/>
        <a:ea typeface="+mn-ea"/>
        <a:cs typeface="+mn-cs"/>
      </a:defRPr>
    </a:lvl8pPr>
    <a:lvl9pPr marL="0" indent="0" algn="l" defTabSz="1151849" rtl="0" eaLnBrk="1" latinLnBrk="0" hangingPunct="1">
      <a:lnSpc>
        <a:spcPct val="107000"/>
      </a:lnSpc>
      <a:spcBef>
        <a:spcPts val="0"/>
      </a:spcBef>
      <a:buFont typeface="Arial" panose="020B0604020202020204" pitchFamily="34" charset="0"/>
      <a:buNone/>
      <a:defRPr sz="1134" i="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6126" userDrawn="1">
          <p15:clr>
            <a:srgbClr val="A4A3A4"/>
          </p15:clr>
        </p15:guide>
        <p15:guide id="2" pos="160" userDrawn="1">
          <p15:clr>
            <a:srgbClr val="A4A3A4"/>
          </p15:clr>
        </p15:guide>
        <p15:guide id="3" pos="4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D2"/>
    <a:srgbClr val="646464"/>
    <a:srgbClr val="6F6F6F"/>
    <a:srgbClr val="000000"/>
    <a:srgbClr val="E61C63"/>
    <a:srgbClr val="429F34"/>
    <a:srgbClr val="006CC6"/>
    <a:srgbClr val="FFFFFF"/>
    <a:srgbClr val="5BC5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88917-A133-44FC-BF06-EC1C8DD6797B}">
  <a:tblStyle styleId="{2D588917-A133-44FC-BF06-EC1C8DD6797B}" styleName="GTAI Basistabelle">
    <a:tblBg>
      <a:effect>
        <a:effectLst/>
      </a:effect>
    </a:tblBg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ap="flat" cmpd="sng" algn="ctr">
              <a:solidFill>
                <a:schemeClr val="dk2"/>
              </a:solidFill>
              <a:prstDash val="solid"/>
            </a:ln>
          </a:bottom>
          <a:insideH>
            <a:ln w="12700" cap="flat" cmpd="sng" algn="ctr">
              <a:solidFill>
                <a:schemeClr val="dk2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firstCol>
      <a:tcTxStyle b="on" i="off">
        <a:fontRef idx="major"/>
        <a:schemeClr val="tx1"/>
      </a:tcTxStyle>
      <a:tcStyle>
        <a:tcBdr/>
        <a:fill>
          <a:noFill/>
        </a:fill>
      </a:tcStyle>
    </a:firstCol>
    <a:lastRow>
      <a:tcTxStyle b="on" i="off">
        <a:fontRef idx="minor"/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ap="flat" cmpd="sng" algn="ctr">
              <a:solidFill>
                <a:schemeClr val="dk2"/>
              </a:solidFill>
              <a:prstDash val="solid"/>
            </a:ln>
          </a:top>
          <a:bottom>
            <a:ln w="12700" cap="flat" cmpd="sng" algn="ctr">
              <a:solidFill>
                <a:schemeClr val="dk2"/>
              </a:solidFill>
              <a:prstDash val="solid"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2"/>
          </a:solidFill>
        </a:fill>
      </a:tcStyle>
    </a:lastRow>
    <a:swCell>
      <a:tcTxStyle b="on" i="off">
        <a:fontRef idx="maj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ap="flat" cmpd="sng" algn="ctr">
              <a:solidFill>
                <a:schemeClr val="dk2"/>
              </a:solidFill>
              <a:prstDash val="solid"/>
            </a:ln>
          </a:top>
          <a:bottom>
            <a:ln w="12700" cap="flat" cmpd="sng" algn="ctr">
              <a:solidFill>
                <a:schemeClr val="dk2"/>
              </a:solidFill>
              <a:prstDash val="solid"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swCell>
    <a:firstRow>
      <a:tcTxStyle b="on" i="off">
        <a:fontRef idx="maj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28575" cap="flat" cmpd="sng" algn="ctr">
              <a:solidFill>
                <a:schemeClr val="dk2"/>
              </a:solidFill>
              <a:prstDash val="solid"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862" autoAdjust="0"/>
    <p:restoredTop sz="92041" autoAdjust="0"/>
  </p:normalViewPr>
  <p:slideViewPr>
    <p:cSldViewPr showGuides="1">
      <p:cViewPr varScale="1">
        <p:scale>
          <a:sx n="88" d="100"/>
          <a:sy n="88" d="100"/>
        </p:scale>
        <p:origin x="1134" y="96"/>
      </p:cViewPr>
      <p:guideLst/>
    </p:cSldViewPr>
  </p:slideViewPr>
  <p:outlineViewPr>
    <p:cViewPr>
      <p:scale>
        <a:sx n="33" d="100"/>
        <a:sy n="33" d="100"/>
      </p:scale>
      <p:origin x="0" y="-17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32" d="100"/>
          <a:sy n="132" d="100"/>
        </p:scale>
        <p:origin x="2472" y="184"/>
      </p:cViewPr>
      <p:guideLst>
        <p:guide orient="horz" pos="6126"/>
        <p:guide pos="160"/>
        <p:guide pos="4122"/>
      </p:guideLst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X:\Energie_Bau_Umwelt\Industries\Smart%20grid_Smart_meter\01_Presentationen\Standard_Praesentation\Energiewende%20Goals%202050%20Status%202017%20VLB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svb010\daten$\Energie_Bau_Umwelt\Industries\Ladeinfrastruktur\01_Pr&#228;sentation\Daten\Charging%20Stations_Market%20Numbers_2018%20updat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767246174258573E-2"/>
          <c:y val="4.5105081449388559E-2"/>
          <c:w val="0.91438432590165708"/>
          <c:h val="0.77165101010101"/>
        </c:manualLayout>
      </c:layout>
      <c:lineChart>
        <c:grouping val="standar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Renewable share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/>
              </a:solidFill>
              <a:ln w="9525">
                <a:solidFill>
                  <a:schemeClr val="tx2"/>
                </a:solidFill>
              </a:ln>
              <a:effectLst/>
            </c:spPr>
          </c:marker>
          <c:cat>
            <c:numRef>
              <c:f>Tabelle1!$B$1:$BB$1</c:f>
              <c:numCache>
                <c:formatCode>General</c:formatCode>
                <c:ptCount val="53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  <c:pt idx="27">
                  <c:v>2025</c:v>
                </c:pt>
                <c:pt idx="28">
                  <c:v>2026</c:v>
                </c:pt>
                <c:pt idx="29">
                  <c:v>2027</c:v>
                </c:pt>
                <c:pt idx="30">
                  <c:v>2028</c:v>
                </c:pt>
                <c:pt idx="31">
                  <c:v>2029</c:v>
                </c:pt>
                <c:pt idx="32">
                  <c:v>2030</c:v>
                </c:pt>
                <c:pt idx="33">
                  <c:v>2031</c:v>
                </c:pt>
                <c:pt idx="34">
                  <c:v>2032</c:v>
                </c:pt>
                <c:pt idx="35">
                  <c:v>2033</c:v>
                </c:pt>
                <c:pt idx="36">
                  <c:v>2034</c:v>
                </c:pt>
                <c:pt idx="37">
                  <c:v>2035</c:v>
                </c:pt>
                <c:pt idx="38">
                  <c:v>2036</c:v>
                </c:pt>
                <c:pt idx="39">
                  <c:v>2037</c:v>
                </c:pt>
                <c:pt idx="40">
                  <c:v>2038</c:v>
                </c:pt>
                <c:pt idx="41">
                  <c:v>2039</c:v>
                </c:pt>
                <c:pt idx="42">
                  <c:v>2040</c:v>
                </c:pt>
                <c:pt idx="43">
                  <c:v>2041</c:v>
                </c:pt>
                <c:pt idx="44">
                  <c:v>2042</c:v>
                </c:pt>
                <c:pt idx="45">
                  <c:v>2043</c:v>
                </c:pt>
                <c:pt idx="46">
                  <c:v>2044</c:v>
                </c:pt>
                <c:pt idx="47">
                  <c:v>2045</c:v>
                </c:pt>
                <c:pt idx="48">
                  <c:v>2046</c:v>
                </c:pt>
                <c:pt idx="49">
                  <c:v>2047</c:v>
                </c:pt>
                <c:pt idx="50">
                  <c:v>2048</c:v>
                </c:pt>
                <c:pt idx="51">
                  <c:v>2049</c:v>
                </c:pt>
                <c:pt idx="52">
                  <c:v>2050</c:v>
                </c:pt>
              </c:numCache>
            </c:numRef>
          </c:cat>
          <c:val>
            <c:numRef>
              <c:f>Tabelle1!$B$2:$BB$2</c:f>
              <c:numCache>
                <c:formatCode>0.0%</c:formatCode>
                <c:ptCount val="53"/>
                <c:pt idx="0">
                  <c:v>4.4999999999999998E-2</c:v>
                </c:pt>
                <c:pt idx="1">
                  <c:v>5.2000000000000005E-2</c:v>
                </c:pt>
                <c:pt idx="2">
                  <c:v>6.3E-2</c:v>
                </c:pt>
                <c:pt idx="3">
                  <c:v>6.6000000000000003E-2</c:v>
                </c:pt>
                <c:pt idx="4">
                  <c:v>7.6999999999999999E-2</c:v>
                </c:pt>
                <c:pt idx="5">
                  <c:v>7.5999999999999998E-2</c:v>
                </c:pt>
                <c:pt idx="6">
                  <c:v>9.4E-2</c:v>
                </c:pt>
                <c:pt idx="7">
                  <c:v>0.10299999999999999</c:v>
                </c:pt>
                <c:pt idx="8">
                  <c:v>0.11599999999999999</c:v>
                </c:pt>
                <c:pt idx="9">
                  <c:v>0.14299999999999999</c:v>
                </c:pt>
                <c:pt idx="10">
                  <c:v>0.152</c:v>
                </c:pt>
                <c:pt idx="11">
                  <c:v>0.16400000000000001</c:v>
                </c:pt>
                <c:pt idx="12">
                  <c:v>0.17</c:v>
                </c:pt>
                <c:pt idx="13">
                  <c:v>0.20399999999999999</c:v>
                </c:pt>
                <c:pt idx="14">
                  <c:v>0.23499999999999999</c:v>
                </c:pt>
                <c:pt idx="15">
                  <c:v>0.251</c:v>
                </c:pt>
                <c:pt idx="16">
                  <c:v>0.27400000000000002</c:v>
                </c:pt>
                <c:pt idx="17">
                  <c:v>0.315</c:v>
                </c:pt>
                <c:pt idx="18">
                  <c:v>0.316</c:v>
                </c:pt>
                <c:pt idx="19" formatCode="0%">
                  <c:v>0.36</c:v>
                </c:pt>
                <c:pt idx="20" formatCode="0%">
                  <c:v>0.378</c:v>
                </c:pt>
                <c:pt idx="21" formatCode="0%">
                  <c:v>0.42099999999999999</c:v>
                </c:pt>
                <c:pt idx="22" formatCode="0%">
                  <c:v>0.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696-40E0-9911-ABA53154AE9D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Targets</c:v>
                </c:pt>
              </c:strCache>
            </c:strRef>
          </c:tx>
          <c:spPr>
            <a:ln w="28575" cap="rnd">
              <a:solidFill>
                <a:srgbClr val="E61C6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E61C63"/>
              </a:solidFill>
              <a:ln w="9525">
                <a:solidFill>
                  <a:srgbClr val="E61C63"/>
                </a:solidFill>
              </a:ln>
              <a:effectLst/>
            </c:spPr>
          </c:marker>
          <c:dPt>
            <c:idx val="22"/>
            <c:marker>
              <c:symbol val="circle"/>
              <c:size val="5"/>
              <c:spPr>
                <a:solidFill>
                  <a:srgbClr val="E61C63"/>
                </a:solidFill>
                <a:ln w="9525">
                  <a:solidFill>
                    <a:srgbClr val="E61C6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696-40E0-9911-ABA53154AE9D}"/>
              </c:ext>
            </c:extLst>
          </c:dPt>
          <c:dPt>
            <c:idx val="32"/>
            <c:marker>
              <c:symbol val="circle"/>
              <c:size val="5"/>
              <c:spPr>
                <a:solidFill>
                  <a:srgbClr val="E61C63"/>
                </a:solidFill>
                <a:ln w="9525">
                  <a:solidFill>
                    <a:srgbClr val="E61C6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696-40E0-9911-ABA53154AE9D}"/>
              </c:ext>
            </c:extLst>
          </c:dPt>
          <c:dPt>
            <c:idx val="42"/>
            <c:marker>
              <c:symbol val="circle"/>
              <c:size val="5"/>
              <c:spPr>
                <a:solidFill>
                  <a:srgbClr val="E61C63"/>
                </a:solidFill>
                <a:ln w="9525">
                  <a:solidFill>
                    <a:srgbClr val="E61C6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rgbClr val="E61C6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8696-40E0-9911-ABA53154AE9D}"/>
              </c:ext>
            </c:extLst>
          </c:dPt>
          <c:dPt>
            <c:idx val="52"/>
            <c:marker>
              <c:symbol val="circle"/>
              <c:size val="5"/>
              <c:spPr>
                <a:solidFill>
                  <a:srgbClr val="E61C63"/>
                </a:solidFill>
                <a:ln w="9525">
                  <a:solidFill>
                    <a:srgbClr val="E61C6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8696-40E0-9911-ABA53154AE9D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endParaRPr lang="en-US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8DF-46B5-A2C9-D49049B2E15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8DF-46B5-A2C9-D49049B2E15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8DF-46B5-A2C9-D49049B2E15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8DF-46B5-A2C9-D49049B2E15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8DF-46B5-A2C9-D49049B2E156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8DF-46B5-A2C9-D49049B2E156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8DF-46B5-A2C9-D49049B2E156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8DF-46B5-A2C9-D49049B2E156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8DF-46B5-A2C9-D49049B2E156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8DF-46B5-A2C9-D49049B2E156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8DF-46B5-A2C9-D49049B2E156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8DF-46B5-A2C9-D49049B2E156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8DF-46B5-A2C9-D49049B2E156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8DF-46B5-A2C9-D49049B2E156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8DF-46B5-A2C9-D49049B2E156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8DF-46B5-A2C9-D49049B2E156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8DF-46B5-A2C9-D49049B2E156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8DF-46B5-A2C9-D49049B2E156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8DF-46B5-A2C9-D49049B2E156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8DF-46B5-A2C9-D49049B2E156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48DF-46B5-A2C9-D49049B2E156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8DF-46B5-A2C9-D49049B2E156}"/>
                </c:ext>
              </c:extLst>
            </c:dLbl>
            <c:dLbl>
              <c:idx val="22"/>
              <c:layout/>
              <c:tx>
                <c:rich>
                  <a:bodyPr/>
                  <a:lstStyle/>
                  <a:p>
                    <a:fld id="{37231DC8-9CB7-4DB7-92E7-F470B06261E4}" type="CATEGORYNAME">
                      <a:rPr lang="en-US">
                        <a:solidFill>
                          <a:srgbClr val="E61C63"/>
                        </a:solidFill>
                      </a:rPr>
                      <a:pPr/>
                      <a:t>[RUBRIKENNAME]</a:t>
                    </a:fld>
                    <a:endParaRPr lang="en-US" baseline="0" dirty="0">
                      <a:solidFill>
                        <a:srgbClr val="E61C63"/>
                      </a:solidFill>
                    </a:endParaRPr>
                  </a:p>
                  <a:p>
                    <a:fld id="{4110BA53-BDBB-4DC8-9FDB-8C990255A93B}" type="VALUE">
                      <a:rPr lang="en-US">
                        <a:solidFill>
                          <a:srgbClr val="E61C63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696-40E0-9911-ABA53154AE9D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8DF-46B5-A2C9-D49049B2E156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8DF-46B5-A2C9-D49049B2E156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48DF-46B5-A2C9-D49049B2E156}"/>
                </c:ext>
              </c:extLst>
            </c:dLbl>
            <c:dLbl>
              <c:idx val="26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8DF-46B5-A2C9-D49049B2E156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8DF-46B5-A2C9-D49049B2E156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8DF-46B5-A2C9-D49049B2E156}"/>
                </c:ext>
              </c:extLst>
            </c:dLbl>
            <c:dLbl>
              <c:idx val="29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48DF-46B5-A2C9-D49049B2E156}"/>
                </c:ext>
              </c:extLst>
            </c:dLbl>
            <c:dLbl>
              <c:idx val="30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48DF-46B5-A2C9-D49049B2E156}"/>
                </c:ext>
              </c:extLst>
            </c:dLbl>
            <c:dLbl>
              <c:idx val="31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48DF-46B5-A2C9-D49049B2E156}"/>
                </c:ext>
              </c:extLst>
            </c:dLbl>
            <c:dLbl>
              <c:idx val="32"/>
              <c:layout>
                <c:manualLayout>
                  <c:x val="-7.684792269352759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E61C6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6875655935465619E-2"/>
                      <c:h val="0.139925109509679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8696-40E0-9911-ABA53154AE9D}"/>
                </c:ext>
              </c:extLst>
            </c:dLbl>
            <c:dLbl>
              <c:idx val="33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48DF-46B5-A2C9-D49049B2E156}"/>
                </c:ext>
              </c:extLst>
            </c:dLbl>
            <c:dLbl>
              <c:idx val="34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48DF-46B5-A2C9-D49049B2E156}"/>
                </c:ext>
              </c:extLst>
            </c:dLbl>
            <c:dLbl>
              <c:idx val="35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48DF-46B5-A2C9-D49049B2E156}"/>
                </c:ext>
              </c:extLst>
            </c:dLbl>
            <c:dLbl>
              <c:idx val="36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48DF-46B5-A2C9-D49049B2E156}"/>
                </c:ext>
              </c:extLst>
            </c:dLbl>
            <c:dLbl>
              <c:idx val="37"/>
              <c:tx>
                <c:rich>
                  <a:bodyPr/>
                  <a:lstStyle/>
                  <a:p>
                    <a:fld id="{864EE5DB-0D00-4126-9EE3-8BC3A78B80BF}" type="CATEGORYNAME">
                      <a:rPr lang="en-US">
                        <a:solidFill>
                          <a:srgbClr val="E61C63"/>
                        </a:solidFill>
                      </a:rPr>
                      <a:pPr/>
                      <a:t>[RUBRIKENNAME]</a:t>
                    </a:fld>
                    <a:endParaRPr lang="en-US" baseline="0" dirty="0">
                      <a:solidFill>
                        <a:srgbClr val="E61C63"/>
                      </a:solidFill>
                    </a:endParaRPr>
                  </a:p>
                  <a:p>
                    <a:fld id="{22A919AB-B0CC-4FE2-BC16-BCEDBB9FC74E}" type="VALUE">
                      <a:rPr lang="en-US">
                        <a:solidFill>
                          <a:srgbClr val="E61C63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48DF-46B5-A2C9-D49049B2E156}"/>
                </c:ext>
              </c:extLst>
            </c:dLbl>
            <c:dLbl>
              <c:idx val="38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48DF-46B5-A2C9-D49049B2E156}"/>
                </c:ext>
              </c:extLst>
            </c:dLbl>
            <c:dLbl>
              <c:idx val="39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48DF-46B5-A2C9-D49049B2E156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48DF-46B5-A2C9-D49049B2E156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48DF-46B5-A2C9-D49049B2E156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696-40E0-9911-ABA53154AE9D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48DF-46B5-A2C9-D49049B2E156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48DF-46B5-A2C9-D49049B2E156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48DF-46B5-A2C9-D49049B2E156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48DF-46B5-A2C9-D49049B2E156}"/>
                </c:ext>
              </c:extLst>
            </c:dLbl>
            <c:dLbl>
              <c:idx val="47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48DF-46B5-A2C9-D49049B2E156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48DF-46B5-A2C9-D49049B2E156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48DF-46B5-A2C9-D49049B2E156}"/>
                </c:ext>
              </c:extLst>
            </c:dLbl>
            <c:dLbl>
              <c:idx val="50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48DF-46B5-A2C9-D49049B2E156}"/>
                </c:ext>
              </c:extLst>
            </c:dLbl>
            <c:dLbl>
              <c:idx val="51"/>
              <c:tx>
                <c:rich>
                  <a:bodyPr/>
                  <a:lstStyle/>
                  <a:p>
                    <a:endParaRPr lang="de-DE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48DF-46B5-A2C9-D49049B2E156}"/>
                </c:ext>
              </c:extLst>
            </c:dLbl>
            <c:dLbl>
              <c:idx val="52"/>
              <c:layout/>
              <c:tx>
                <c:rich>
                  <a:bodyPr/>
                  <a:lstStyle/>
                  <a:p>
                    <a:fld id="{AAD5AE11-472D-4952-8458-1C86FF3A37C7}" type="CATEGORYNAME">
                      <a:rPr lang="en-US">
                        <a:solidFill>
                          <a:srgbClr val="E61C63"/>
                        </a:solidFill>
                      </a:rPr>
                      <a:pPr/>
                      <a:t>[RUBRIKENNAME]</a:t>
                    </a:fld>
                    <a:endParaRPr lang="en-US" baseline="0" dirty="0">
                      <a:solidFill>
                        <a:srgbClr val="E61C63"/>
                      </a:solidFill>
                    </a:endParaRPr>
                  </a:p>
                  <a:p>
                    <a:fld id="{6395C2A6-88DF-40EC-A0F8-7D0CE17963E9}" type="VALUE">
                      <a:rPr lang="en-US" smtClean="0">
                        <a:solidFill>
                          <a:srgbClr val="E61C63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696-40E0-9911-ABA53154AE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B$1:$BB$1</c:f>
              <c:numCache>
                <c:formatCode>General</c:formatCode>
                <c:ptCount val="53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  <c:pt idx="26">
                  <c:v>2024</c:v>
                </c:pt>
                <c:pt idx="27">
                  <c:v>2025</c:v>
                </c:pt>
                <c:pt idx="28">
                  <c:v>2026</c:v>
                </c:pt>
                <c:pt idx="29">
                  <c:v>2027</c:v>
                </c:pt>
                <c:pt idx="30">
                  <c:v>2028</c:v>
                </c:pt>
                <c:pt idx="31">
                  <c:v>2029</c:v>
                </c:pt>
                <c:pt idx="32">
                  <c:v>2030</c:v>
                </c:pt>
                <c:pt idx="33">
                  <c:v>2031</c:v>
                </c:pt>
                <c:pt idx="34">
                  <c:v>2032</c:v>
                </c:pt>
                <c:pt idx="35">
                  <c:v>2033</c:v>
                </c:pt>
                <c:pt idx="36">
                  <c:v>2034</c:v>
                </c:pt>
                <c:pt idx="37">
                  <c:v>2035</c:v>
                </c:pt>
                <c:pt idx="38">
                  <c:v>2036</c:v>
                </c:pt>
                <c:pt idx="39">
                  <c:v>2037</c:v>
                </c:pt>
                <c:pt idx="40">
                  <c:v>2038</c:v>
                </c:pt>
                <c:pt idx="41">
                  <c:v>2039</c:v>
                </c:pt>
                <c:pt idx="42">
                  <c:v>2040</c:v>
                </c:pt>
                <c:pt idx="43">
                  <c:v>2041</c:v>
                </c:pt>
                <c:pt idx="44">
                  <c:v>2042</c:v>
                </c:pt>
                <c:pt idx="45">
                  <c:v>2043</c:v>
                </c:pt>
                <c:pt idx="46">
                  <c:v>2044</c:v>
                </c:pt>
                <c:pt idx="47">
                  <c:v>2045</c:v>
                </c:pt>
                <c:pt idx="48">
                  <c:v>2046</c:v>
                </c:pt>
                <c:pt idx="49">
                  <c:v>2047</c:v>
                </c:pt>
                <c:pt idx="50">
                  <c:v>2048</c:v>
                </c:pt>
                <c:pt idx="51">
                  <c:v>2049</c:v>
                </c:pt>
                <c:pt idx="52">
                  <c:v>2050</c:v>
                </c:pt>
              </c:numCache>
            </c:numRef>
          </c:cat>
          <c:val>
            <c:numRef>
              <c:f>Tabelle1!$B$3:$BB$3</c:f>
              <c:numCache>
                <c:formatCode>General</c:formatCode>
                <c:ptCount val="53"/>
                <c:pt idx="22" formatCode="0%">
                  <c:v>0.35</c:v>
                </c:pt>
                <c:pt idx="32" formatCode="0%">
                  <c:v>0.65</c:v>
                </c:pt>
                <c:pt idx="52" formatCode="0%">
                  <c:v>0.8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datalabelsRange>
                <c15:f>Tabelle1!$AH$3</c15:f>
                <c15:dlblRangeCache>
                  <c:ptCount val="1"/>
                  <c:pt idx="0">
                    <c:v>6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8696-40E0-9911-ABA53154AE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7319680"/>
        <c:axId val="277321216"/>
      </c:lineChart>
      <c:dateAx>
        <c:axId val="277319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77321216"/>
        <c:crosses val="autoZero"/>
        <c:auto val="0"/>
        <c:lblOffset val="100"/>
        <c:baseTimeUnit val="days"/>
        <c:majorUnit val="4"/>
        <c:majorTimeUnit val="days"/>
        <c:minorUnit val="4"/>
      </c:dateAx>
      <c:valAx>
        <c:axId val="277321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77319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Hard coal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numRef>
              <c:f>Tabelle1!$A$2:$A$20</c:f>
              <c:numCache>
                <c:formatCode>General</c:formatCode>
                <c:ptCount val="19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</c:numCache>
            </c:numRef>
          </c:cat>
          <c:val>
            <c:numRef>
              <c:f>Tabelle1!$B$2:$B$20</c:f>
              <c:numCache>
                <c:formatCode>General</c:formatCode>
                <c:ptCount val="19"/>
                <c:pt idx="0">
                  <c:v>20.6</c:v>
                </c:pt>
                <c:pt idx="1">
                  <c:v>17.100000000000001</c:v>
                </c:pt>
                <c:pt idx="2">
                  <c:v>15.1</c:v>
                </c:pt>
                <c:pt idx="3">
                  <c:v>12.6</c:v>
                </c:pt>
                <c:pt idx="4">
                  <c:v>11.4</c:v>
                </c:pt>
                <c:pt idx="5">
                  <c:v>10.199999999999999</c:v>
                </c:pt>
                <c:pt idx="6">
                  <c:v>9.5</c:v>
                </c:pt>
                <c:pt idx="7">
                  <c:v>8.5</c:v>
                </c:pt>
                <c:pt idx="8">
                  <c:v>8.4</c:v>
                </c:pt>
                <c:pt idx="9">
                  <c:v>8.5</c:v>
                </c:pt>
                <c:pt idx="10">
                  <c:v>8.1</c:v>
                </c:pt>
                <c:pt idx="11">
                  <c:v>6</c:v>
                </c:pt>
                <c:pt idx="12">
                  <c:v>4</c:v>
                </c:pt>
                <c:pt idx="13">
                  <c:v>1.9</c:v>
                </c:pt>
                <c:pt idx="14">
                  <c:v>0.69999999999999896</c:v>
                </c:pt>
                <c:pt idx="15">
                  <c:v>0.39999999999999902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A2-4B78-8966-D45A50AE692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Lignite (Lusatia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Tabelle1!$A$2:$A$20</c:f>
              <c:numCache>
                <c:formatCode>General</c:formatCode>
                <c:ptCount val="19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</c:numCache>
            </c:numRef>
          </c:cat>
          <c:val>
            <c:numRef>
              <c:f>Tabelle1!$C$2:$C$20</c:f>
              <c:numCache>
                <c:formatCode>General</c:formatCode>
                <c:ptCount val="19"/>
                <c:pt idx="0">
                  <c:v>5.6999999999999904</c:v>
                </c:pt>
                <c:pt idx="1">
                  <c:v>5.7</c:v>
                </c:pt>
                <c:pt idx="2">
                  <c:v>5.6999999999999904</c:v>
                </c:pt>
                <c:pt idx="3">
                  <c:v>5.6999999999999904</c:v>
                </c:pt>
                <c:pt idx="4">
                  <c:v>5.6999999999999904</c:v>
                </c:pt>
                <c:pt idx="5">
                  <c:v>5.3</c:v>
                </c:pt>
                <c:pt idx="6">
                  <c:v>5.3</c:v>
                </c:pt>
                <c:pt idx="7">
                  <c:v>4.7999999999999901</c:v>
                </c:pt>
                <c:pt idx="8">
                  <c:v>3.9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2.9</c:v>
                </c:pt>
                <c:pt idx="13">
                  <c:v>2.9</c:v>
                </c:pt>
                <c:pt idx="14">
                  <c:v>2.9</c:v>
                </c:pt>
                <c:pt idx="15">
                  <c:v>2.9</c:v>
                </c:pt>
                <c:pt idx="16">
                  <c:v>3</c:v>
                </c:pt>
                <c:pt idx="17">
                  <c:v>3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FA2-4B78-8966-D45A50AE6927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Lignite (Central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Tabelle1!$A$2:$A$20</c:f>
              <c:numCache>
                <c:formatCode>General</c:formatCode>
                <c:ptCount val="19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</c:numCache>
            </c:numRef>
          </c:cat>
          <c:val>
            <c:numRef>
              <c:f>Tabelle1!$D$2:$D$20</c:f>
              <c:numCache>
                <c:formatCode>General</c:formatCode>
                <c:ptCount val="19"/>
                <c:pt idx="0">
                  <c:v>2.5999999999999899</c:v>
                </c:pt>
                <c:pt idx="1">
                  <c:v>2.69999999999999</c:v>
                </c:pt>
                <c:pt idx="2">
                  <c:v>2.6</c:v>
                </c:pt>
                <c:pt idx="3">
                  <c:v>2.6</c:v>
                </c:pt>
                <c:pt idx="4">
                  <c:v>2.6</c:v>
                </c:pt>
                <c:pt idx="5">
                  <c:v>2.5</c:v>
                </c:pt>
                <c:pt idx="6">
                  <c:v>2.7</c:v>
                </c:pt>
                <c:pt idx="7">
                  <c:v>2.6</c:v>
                </c:pt>
                <c:pt idx="8">
                  <c:v>2.5999999999999899</c:v>
                </c:pt>
                <c:pt idx="9">
                  <c:v>2.5999999999999899</c:v>
                </c:pt>
                <c:pt idx="10">
                  <c:v>2.5999999999999899</c:v>
                </c:pt>
                <c:pt idx="11">
                  <c:v>2.6</c:v>
                </c:pt>
                <c:pt idx="12">
                  <c:v>2.5</c:v>
                </c:pt>
                <c:pt idx="13">
                  <c:v>2.6</c:v>
                </c:pt>
                <c:pt idx="14">
                  <c:v>1.7999999999999901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A2-4B78-8966-D45A50AE6927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Lignite (Rhineland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Tabelle1!$A$2:$A$20</c:f>
              <c:numCache>
                <c:formatCode>General</c:formatCode>
                <c:ptCount val="19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</c:numCache>
            </c:numRef>
          </c:cat>
          <c:val>
            <c:numRef>
              <c:f>Tabelle1!$E$2:$E$20</c:f>
              <c:numCache>
                <c:formatCode>General</c:formatCode>
                <c:ptCount val="19"/>
                <c:pt idx="0">
                  <c:v>9.1999999999999993</c:v>
                </c:pt>
                <c:pt idx="1">
                  <c:v>8.1999999999999993</c:v>
                </c:pt>
                <c:pt idx="2">
                  <c:v>6.6</c:v>
                </c:pt>
                <c:pt idx="3">
                  <c:v>6.6</c:v>
                </c:pt>
                <c:pt idx="4">
                  <c:v>6.2</c:v>
                </c:pt>
                <c:pt idx="5">
                  <c:v>6.3</c:v>
                </c:pt>
                <c:pt idx="6">
                  <c:v>6.1</c:v>
                </c:pt>
                <c:pt idx="7">
                  <c:v>6.1</c:v>
                </c:pt>
                <c:pt idx="8">
                  <c:v>5.4</c:v>
                </c:pt>
                <c:pt idx="9">
                  <c:v>3.4</c:v>
                </c:pt>
                <c:pt idx="10">
                  <c:v>3.4</c:v>
                </c:pt>
                <c:pt idx="11">
                  <c:v>3.3</c:v>
                </c:pt>
                <c:pt idx="12">
                  <c:v>3.4</c:v>
                </c:pt>
                <c:pt idx="13">
                  <c:v>3.3</c:v>
                </c:pt>
                <c:pt idx="14">
                  <c:v>3.2</c:v>
                </c:pt>
                <c:pt idx="15">
                  <c:v>3.2</c:v>
                </c:pt>
                <c:pt idx="16">
                  <c:v>3.1</c:v>
                </c:pt>
                <c:pt idx="17">
                  <c:v>3.1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FA2-4B78-8966-D45A50AE69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75597168"/>
        <c:axId val="1075591264"/>
      </c:barChart>
      <c:catAx>
        <c:axId val="1075597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75591264"/>
        <c:crosses val="autoZero"/>
        <c:auto val="1"/>
        <c:lblAlgn val="ctr"/>
        <c:lblOffset val="100"/>
        <c:noMultiLvlLbl val="0"/>
      </c:catAx>
      <c:valAx>
        <c:axId val="1075591264"/>
        <c:scaling>
          <c:orientation val="minMax"/>
          <c:max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330" b="0" i="0" u="none" strike="noStrike" kern="1200" baseline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 dirty="0" err="1" smtClean="0"/>
                  <a:t>Installed</a:t>
                </a:r>
                <a:r>
                  <a:rPr lang="de-DE" sz="1200" dirty="0" smtClean="0"/>
                  <a:t> </a:t>
                </a:r>
                <a:r>
                  <a:rPr lang="de-DE" sz="1200" dirty="0" err="1" smtClean="0"/>
                  <a:t>capacity</a:t>
                </a:r>
                <a:r>
                  <a:rPr lang="de-DE" sz="1200" baseline="0" dirty="0" smtClean="0"/>
                  <a:t> (GW)*</a:t>
                </a:r>
                <a:endParaRPr lang="de-DE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330" b="0" i="0" u="none" strike="noStrike" kern="120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75597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987444444444444E-2"/>
          <c:y val="4.0246879912534353E-2"/>
          <c:w val="0.90030712056720075"/>
          <c:h val="0.774848421725062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WTs with Grid Connection - Annual Additions (in MW) 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22-3D04-4055-A5FC-EF3BADB74962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E-3D04-4055-A5FC-EF3BADB74962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F-3D04-4055-A5FC-EF3BADB74962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D-3D04-4055-A5FC-EF3BADB74962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C-3D04-4055-A5FC-EF3BADB74962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B-3D04-4055-A5FC-EF3BADB74962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A-3D04-4055-A5FC-EF3BADB74962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9-3D04-4055-A5FC-EF3BADB74962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8-3D04-4055-A5FC-EF3BADB74962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7-3D04-4055-A5FC-EF3BADB74962}"/>
              </c:ext>
            </c:extLst>
          </c:dPt>
          <c:dPt>
            <c:idx val="22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B-3D04-4055-A5FC-EF3BADB74962}"/>
              </c:ext>
            </c:extLst>
          </c:dPt>
          <c:dPt>
            <c:idx val="23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A-3D04-4055-A5FC-EF3BADB74962}"/>
              </c:ext>
            </c:extLst>
          </c:dPt>
          <c:dPt>
            <c:idx val="24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9-3D04-4055-A5FC-EF3BADB74962}"/>
              </c:ext>
            </c:extLst>
          </c:dPt>
          <c:dPt>
            <c:idx val="25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8-3D04-4055-A5FC-EF3BADB74962}"/>
              </c:ext>
            </c:extLst>
          </c:dPt>
          <c:dPt>
            <c:idx val="26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7-3D04-4055-A5FC-EF3BADB74962}"/>
              </c:ext>
            </c:extLst>
          </c:dPt>
          <c:dPt>
            <c:idx val="27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6-3D04-4055-A5FC-EF3BADB74962}"/>
              </c:ext>
            </c:extLst>
          </c:dPt>
          <c:dPt>
            <c:idx val="28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5-3D04-4055-A5FC-EF3BADB74962}"/>
              </c:ext>
            </c:extLst>
          </c:dPt>
          <c:dPt>
            <c:idx val="29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2-3D04-4055-A5FC-EF3BADB74962}"/>
              </c:ext>
            </c:extLst>
          </c:dPt>
          <c:dPt>
            <c:idx val="30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3-3D04-4055-A5FC-EF3BADB74962}"/>
              </c:ext>
            </c:extLst>
          </c:dPt>
          <c:dPt>
            <c:idx val="31"/>
            <c:invertIfNegative val="0"/>
            <c:bubble3D val="0"/>
            <c:spPr>
              <a:pattFill prst="wdUpDiag">
                <a:fgClr>
                  <a:schemeClr val="tx2">
                    <a:lumMod val="40000"/>
                    <a:lumOff val="60000"/>
                  </a:schemeClr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4-3D04-4055-A5FC-EF3BADB74962}"/>
              </c:ext>
            </c:extLst>
          </c:dPt>
          <c:cat>
            <c:numRef>
              <c:f>Tabelle1!$A$2:$A$33</c:f>
              <c:numCache>
                <c:formatCode>General</c:formatCode>
                <c:ptCount val="3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  <c:pt idx="12">
                  <c:v>2021</c:v>
                </c:pt>
                <c:pt idx="13">
                  <c:v>2022</c:v>
                </c:pt>
                <c:pt idx="14">
                  <c:v>2023</c:v>
                </c:pt>
                <c:pt idx="15">
                  <c:v>2024</c:v>
                </c:pt>
                <c:pt idx="16">
                  <c:v>2025</c:v>
                </c:pt>
                <c:pt idx="17">
                  <c:v>2026</c:v>
                </c:pt>
                <c:pt idx="18">
                  <c:v>2027</c:v>
                </c:pt>
                <c:pt idx="19">
                  <c:v>2028</c:v>
                </c:pt>
                <c:pt idx="20">
                  <c:v>2029</c:v>
                </c:pt>
                <c:pt idx="21">
                  <c:v>2030</c:v>
                </c:pt>
                <c:pt idx="22">
                  <c:v>2031</c:v>
                </c:pt>
                <c:pt idx="23">
                  <c:v>2032</c:v>
                </c:pt>
                <c:pt idx="24">
                  <c:v>2033</c:v>
                </c:pt>
                <c:pt idx="25">
                  <c:v>2034</c:v>
                </c:pt>
                <c:pt idx="26">
                  <c:v>2035</c:v>
                </c:pt>
                <c:pt idx="27">
                  <c:v>2036</c:v>
                </c:pt>
                <c:pt idx="28">
                  <c:v>2037</c:v>
                </c:pt>
                <c:pt idx="29">
                  <c:v>2038</c:v>
                </c:pt>
                <c:pt idx="30">
                  <c:v>2039</c:v>
                </c:pt>
                <c:pt idx="31">
                  <c:v>2040</c:v>
                </c:pt>
              </c:numCache>
            </c:numRef>
          </c:cat>
          <c:val>
            <c:numRef>
              <c:f>Tabelle1!$B$2:$B$33</c:f>
              <c:numCache>
                <c:formatCode>General</c:formatCode>
                <c:ptCount val="32"/>
                <c:pt idx="0">
                  <c:v>30</c:v>
                </c:pt>
                <c:pt idx="1">
                  <c:v>50</c:v>
                </c:pt>
                <c:pt idx="2">
                  <c:v>110</c:v>
                </c:pt>
                <c:pt idx="3">
                  <c:v>80</c:v>
                </c:pt>
                <c:pt idx="4">
                  <c:v>240</c:v>
                </c:pt>
                <c:pt idx="5">
                  <c:v>492</c:v>
                </c:pt>
                <c:pt idx="6">
                  <c:v>2282</c:v>
                </c:pt>
                <c:pt idx="7">
                  <c:v>818</c:v>
                </c:pt>
                <c:pt idx="8">
                  <c:v>1250</c:v>
                </c:pt>
                <c:pt idx="9">
                  <c:v>969</c:v>
                </c:pt>
                <c:pt idx="10">
                  <c:v>1111</c:v>
                </c:pt>
                <c:pt idx="11">
                  <c:v>200</c:v>
                </c:pt>
                <c:pt idx="12">
                  <c:v>500</c:v>
                </c:pt>
                <c:pt idx="13">
                  <c:v>500</c:v>
                </c:pt>
                <c:pt idx="14">
                  <c:v>700</c:v>
                </c:pt>
                <c:pt idx="15">
                  <c:v>700</c:v>
                </c:pt>
                <c:pt idx="16">
                  <c:v>700</c:v>
                </c:pt>
                <c:pt idx="17">
                  <c:v>950</c:v>
                </c:pt>
                <c:pt idx="18">
                  <c:v>950</c:v>
                </c:pt>
                <c:pt idx="19">
                  <c:v>950</c:v>
                </c:pt>
                <c:pt idx="20">
                  <c:v>2900</c:v>
                </c:pt>
                <c:pt idx="21">
                  <c:v>3500</c:v>
                </c:pt>
                <c:pt idx="22">
                  <c:v>2000</c:v>
                </c:pt>
                <c:pt idx="23">
                  <c:v>2000</c:v>
                </c:pt>
                <c:pt idx="24">
                  <c:v>2000</c:v>
                </c:pt>
                <c:pt idx="25">
                  <c:v>2000</c:v>
                </c:pt>
                <c:pt idx="26">
                  <c:v>2000</c:v>
                </c:pt>
                <c:pt idx="27">
                  <c:v>2000</c:v>
                </c:pt>
                <c:pt idx="28">
                  <c:v>2000</c:v>
                </c:pt>
                <c:pt idx="29">
                  <c:v>2000</c:v>
                </c:pt>
                <c:pt idx="30">
                  <c:v>2000</c:v>
                </c:pt>
                <c:pt idx="31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04-4055-A5FC-EF3BADB749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334080"/>
        <c:axId val="131044480"/>
      </c:barChart>
      <c:lineChart>
        <c:grouping val="standard"/>
        <c:varyColors val="0"/>
        <c:ser>
          <c:idx val="2"/>
          <c:order val="1"/>
          <c:tx>
            <c:strRef>
              <c:f>Tabelle1!$D$1</c:f>
              <c:strCache>
                <c:ptCount val="1"/>
                <c:pt idx="0">
                  <c:v>OWTs with Grid Connection - Cumulative Capacity (in MW)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21-3D04-4055-A5FC-EF3BADB7496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20-3D04-4055-A5FC-EF3BADB74962}"/>
              </c:ext>
            </c:extLst>
          </c:dPt>
          <c:cat>
            <c:numRef>
              <c:f>Tabelle1!$A$2:$A$33</c:f>
              <c:numCache>
                <c:formatCode>General</c:formatCode>
                <c:ptCount val="3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  <c:pt idx="12">
                  <c:v>2021</c:v>
                </c:pt>
                <c:pt idx="13">
                  <c:v>2022</c:v>
                </c:pt>
                <c:pt idx="14">
                  <c:v>2023</c:v>
                </c:pt>
                <c:pt idx="15">
                  <c:v>2024</c:v>
                </c:pt>
                <c:pt idx="16">
                  <c:v>2025</c:v>
                </c:pt>
                <c:pt idx="17">
                  <c:v>2026</c:v>
                </c:pt>
                <c:pt idx="18">
                  <c:v>2027</c:v>
                </c:pt>
                <c:pt idx="19">
                  <c:v>2028</c:v>
                </c:pt>
                <c:pt idx="20">
                  <c:v>2029</c:v>
                </c:pt>
                <c:pt idx="21">
                  <c:v>2030</c:v>
                </c:pt>
                <c:pt idx="22">
                  <c:v>2031</c:v>
                </c:pt>
                <c:pt idx="23">
                  <c:v>2032</c:v>
                </c:pt>
                <c:pt idx="24">
                  <c:v>2033</c:v>
                </c:pt>
                <c:pt idx="25">
                  <c:v>2034</c:v>
                </c:pt>
                <c:pt idx="26">
                  <c:v>2035</c:v>
                </c:pt>
                <c:pt idx="27">
                  <c:v>2036</c:v>
                </c:pt>
                <c:pt idx="28">
                  <c:v>2037</c:v>
                </c:pt>
                <c:pt idx="29">
                  <c:v>2038</c:v>
                </c:pt>
                <c:pt idx="30">
                  <c:v>2039</c:v>
                </c:pt>
                <c:pt idx="31">
                  <c:v>2040</c:v>
                </c:pt>
              </c:numCache>
            </c:numRef>
          </c:cat>
          <c:val>
            <c:numRef>
              <c:f>Tabelle1!$D$2:$D$33</c:f>
              <c:numCache>
                <c:formatCode>#,##0</c:formatCode>
                <c:ptCount val="32"/>
                <c:pt idx="0" formatCode="General">
                  <c:v>50</c:v>
                </c:pt>
                <c:pt idx="1">
                  <c:v>85</c:v>
                </c:pt>
                <c:pt idx="2">
                  <c:v>195</c:v>
                </c:pt>
                <c:pt idx="3">
                  <c:v>280</c:v>
                </c:pt>
                <c:pt idx="4">
                  <c:v>520</c:v>
                </c:pt>
                <c:pt idx="5">
                  <c:v>1050</c:v>
                </c:pt>
                <c:pt idx="6">
                  <c:v>3295</c:v>
                </c:pt>
                <c:pt idx="7" formatCode="General">
                  <c:v>4108</c:v>
                </c:pt>
                <c:pt idx="8" formatCode="General">
                  <c:v>5387</c:v>
                </c:pt>
                <c:pt idx="9" formatCode="General">
                  <c:v>6382</c:v>
                </c:pt>
                <c:pt idx="10" formatCode="General">
                  <c:v>7516</c:v>
                </c:pt>
                <c:pt idx="11" formatCode="General">
                  <c:v>7716</c:v>
                </c:pt>
                <c:pt idx="12" formatCode="General">
                  <c:v>8216</c:v>
                </c:pt>
                <c:pt idx="13" formatCode="General">
                  <c:v>8716</c:v>
                </c:pt>
                <c:pt idx="14" formatCode="General">
                  <c:v>9416</c:v>
                </c:pt>
                <c:pt idx="15" formatCode="General">
                  <c:v>10116</c:v>
                </c:pt>
                <c:pt idx="16" formatCode="General">
                  <c:v>10816</c:v>
                </c:pt>
                <c:pt idx="17" formatCode="General">
                  <c:v>11766</c:v>
                </c:pt>
                <c:pt idx="18" formatCode="General">
                  <c:v>12716</c:v>
                </c:pt>
                <c:pt idx="19" formatCode="General">
                  <c:v>13666</c:v>
                </c:pt>
                <c:pt idx="20" formatCode="General">
                  <c:v>16566</c:v>
                </c:pt>
                <c:pt idx="21" formatCode="General">
                  <c:v>20066</c:v>
                </c:pt>
                <c:pt idx="22" formatCode="General">
                  <c:v>22000</c:v>
                </c:pt>
                <c:pt idx="23" formatCode="General">
                  <c:v>24000</c:v>
                </c:pt>
                <c:pt idx="24" formatCode="General">
                  <c:v>26000</c:v>
                </c:pt>
                <c:pt idx="25" formatCode="General">
                  <c:v>28000</c:v>
                </c:pt>
                <c:pt idx="26" formatCode="General">
                  <c:v>30000</c:v>
                </c:pt>
                <c:pt idx="27" formatCode="General">
                  <c:v>32000</c:v>
                </c:pt>
                <c:pt idx="28" formatCode="General">
                  <c:v>34000</c:v>
                </c:pt>
                <c:pt idx="29" formatCode="General">
                  <c:v>36000</c:v>
                </c:pt>
                <c:pt idx="30" formatCode="General">
                  <c:v>38000</c:v>
                </c:pt>
                <c:pt idx="31" formatCode="General">
                  <c:v>4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D04-4055-A5FC-EF3BADB749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357504"/>
        <c:axId val="132355968"/>
      </c:lineChart>
      <c:catAx>
        <c:axId val="130334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131044480"/>
        <c:crosses val="autoZero"/>
        <c:auto val="1"/>
        <c:lblAlgn val="ctr"/>
        <c:lblOffset val="100"/>
        <c:noMultiLvlLbl val="0"/>
      </c:catAx>
      <c:valAx>
        <c:axId val="131044480"/>
        <c:scaling>
          <c:orientation val="minMax"/>
          <c:max val="4000"/>
        </c:scaling>
        <c:delete val="0"/>
        <c:axPos val="l"/>
        <c:majorGridlines>
          <c:spPr>
            <a:ln>
              <a:solidFill>
                <a:schemeClr val="accent4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130334080"/>
        <c:crosses val="autoZero"/>
        <c:crossBetween val="between"/>
      </c:valAx>
      <c:valAx>
        <c:axId val="132355968"/>
        <c:scaling>
          <c:orientation val="minMax"/>
          <c:max val="4000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132357504"/>
        <c:crosses val="max"/>
        <c:crossBetween val="between"/>
      </c:valAx>
      <c:catAx>
        <c:axId val="1323575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235596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90427435301158432"/>
          <c:w val="0.99950644444444448"/>
          <c:h val="9.572556738783719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598884655092242"/>
          <c:y val="0.21016847338531519"/>
          <c:w val="0.56513628878221078"/>
          <c:h val="0.6150293478530121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pproval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10-46DA-AB07-A9DF8E234EF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10-46DA-AB07-A9DF8E234EFA}"/>
              </c:ext>
            </c:extLst>
          </c:dPt>
          <c:dLbls>
            <c:dLbl>
              <c:idx val="0"/>
              <c:layout>
                <c:manualLayout>
                  <c:x val="0.13391724262938462"/>
                  <c:y val="0.116748538751249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754121712678017"/>
                      <c:h val="0.371322770978157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610-46DA-AB07-A9DF8E234EFA}"/>
                </c:ext>
              </c:extLst>
            </c:dLbl>
            <c:dLbl>
              <c:idx val="1"/>
              <c:layout>
                <c:manualLayout>
                  <c:x val="-0.14141209779333139"/>
                  <c:y val="-0.10229290783096558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21726859184912"/>
                      <c:h val="0.3713227513227512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10-46DA-AB07-A9DF8E234E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3</c:f>
              <c:strCache>
                <c:ptCount val="2"/>
                <c:pt idx="0">
                  <c:v>can imagine to use flexible tariffs</c:v>
                </c:pt>
                <c:pt idx="1">
                  <c:v>cannot imagine to use flexible tariffs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62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610-46DA-AB07-A9DF8E234E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154137928566993E-2"/>
          <c:y val="7.7364679793960403E-2"/>
          <c:w val="0.89628451224983197"/>
          <c:h val="0.83904347403420598"/>
        </c:manualLayout>
      </c:layout>
      <c:areaChart>
        <c:grouping val="standard"/>
        <c:varyColors val="0"/>
        <c:ser>
          <c:idx val="0"/>
          <c:order val="0"/>
          <c:tx>
            <c:strRef>
              <c:f>'# EVs global IEA'!$V$18</c:f>
              <c:strCache>
                <c:ptCount val="1"/>
                <c:pt idx="0">
                  <c:v>Electric cars (BEV and PHEV)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cat>
            <c:numRef>
              <c:f>'# EVs global IEA'!$AC$17:$AL$17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'# EVs global IEA'!$AC$18:$AL$18</c:f>
              <c:numCache>
                <c:formatCode>General</c:formatCode>
                <c:ptCount val="10"/>
                <c:pt idx="0">
                  <c:v>1890</c:v>
                </c:pt>
                <c:pt idx="1">
                  <c:v>5260</c:v>
                </c:pt>
                <c:pt idx="2">
                  <c:v>12190</c:v>
                </c:pt>
                <c:pt idx="3">
                  <c:v>24930</c:v>
                </c:pt>
                <c:pt idx="4">
                  <c:v>48120</c:v>
                </c:pt>
                <c:pt idx="5">
                  <c:v>72730</c:v>
                </c:pt>
                <c:pt idx="6">
                  <c:v>109560</c:v>
                </c:pt>
                <c:pt idx="7">
                  <c:v>177070</c:v>
                </c:pt>
                <c:pt idx="8">
                  <c:v>230000</c:v>
                </c:pt>
                <c:pt idx="9">
                  <c:v>6249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49-4C57-906B-B8B92D715344}"/>
            </c:ext>
          </c:extLst>
        </c:ser>
        <c:ser>
          <c:idx val="1"/>
          <c:order val="1"/>
          <c:tx>
            <c:strRef>
              <c:f>'# EVs global IEA'!$V$19</c:f>
              <c:strCache>
                <c:ptCount val="1"/>
                <c:pt idx="0">
                  <c:v>Public charging stations</c:v>
                </c:pt>
              </c:strCache>
            </c:strRef>
          </c:tx>
          <c:spPr>
            <a:solidFill>
              <a:srgbClr val="E61C63"/>
            </a:solidFill>
          </c:spPr>
          <c:cat>
            <c:numRef>
              <c:f>'# EVs global IEA'!$AC$17:$AL$17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'# EVs global IEA'!$AC$19:$AL$19</c:f>
              <c:numCache>
                <c:formatCode>General</c:formatCode>
                <c:ptCount val="10"/>
                <c:pt idx="0">
                  <c:v>0</c:v>
                </c:pt>
                <c:pt idx="1">
                  <c:v>1518</c:v>
                </c:pt>
                <c:pt idx="2">
                  <c:v>2447</c:v>
                </c:pt>
                <c:pt idx="3">
                  <c:v>2846</c:v>
                </c:pt>
                <c:pt idx="4">
                  <c:v>5328</c:v>
                </c:pt>
                <c:pt idx="5">
                  <c:v>17509</c:v>
                </c:pt>
                <c:pt idx="6">
                  <c:v>24289</c:v>
                </c:pt>
                <c:pt idx="7">
                  <c:v>25724</c:v>
                </c:pt>
                <c:pt idx="8">
                  <c:v>39291</c:v>
                </c:pt>
                <c:pt idx="9">
                  <c:v>44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49-4C57-906B-B8B92D7153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342364880"/>
        <c:axId val="-1345867904"/>
      </c:areaChart>
      <c:catAx>
        <c:axId val="-13423648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-1345867904"/>
        <c:crosses val="autoZero"/>
        <c:auto val="1"/>
        <c:lblAlgn val="ctr"/>
        <c:lblOffset val="100"/>
        <c:noMultiLvlLbl val="0"/>
      </c:catAx>
      <c:valAx>
        <c:axId val="-13458679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-1342364880"/>
        <c:crosses val="autoZero"/>
        <c:crossBetween val="midCat"/>
      </c:valAx>
    </c:plotArea>
    <c:legend>
      <c:legendPos val="t"/>
      <c:layout>
        <c:manualLayout>
          <c:xMode val="edge"/>
          <c:yMode val="edge"/>
          <c:x val="0.22565607805336532"/>
          <c:y val="4.6973081853140447E-2"/>
          <c:w val="0.54261938654241304"/>
          <c:h val="0.17706036262956698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n>
            <a:noFill/>
          </a:ln>
        </a:defRPr>
      </a:pPr>
      <a:endParaRPr lang="de-DE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687</cdr:x>
      <cdr:y>0.36596</cdr:y>
    </cdr:from>
    <cdr:to>
      <cdr:x>0.88995</cdr:x>
      <cdr:y>0.59111</cdr:y>
    </cdr:to>
    <cdr:sp macro="" textlink="">
      <cdr:nvSpPr>
        <cdr:cNvPr id="2" name="Rechteck 1"/>
        <cdr:cNvSpPr/>
      </cdr:nvSpPr>
      <cdr:spPr>
        <a:xfrm xmlns:a="http://schemas.openxmlformats.org/drawingml/2006/main">
          <a:off x="837619" y="1274196"/>
          <a:ext cx="4608698" cy="7839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de-DE"/>
          </a:defPPr>
          <a:lvl1pPr marL="0" indent="0" algn="l" defTabSz="914400" rtl="0" eaLnBrk="1" latinLnBrk="0" hangingPunct="1">
            <a:lnSpc>
              <a:spcPct val="107000"/>
            </a:lnSpc>
            <a:spcBef>
              <a:spcPts val="0"/>
            </a:spcBef>
            <a:spcAft>
              <a:spcPts val="0"/>
            </a:spcAft>
            <a:buFont typeface="Arial" panose="020B0604020202020204" pitchFamily="34" charset="0"/>
            <a:buNone/>
            <a:defRPr sz="1700" b="0" kern="6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216000" indent="-216000" algn="l" defTabSz="914400" rtl="0" eaLnBrk="1" latinLnBrk="0" hangingPunct="1">
            <a:lnSpc>
              <a:spcPct val="107000"/>
            </a:lnSpc>
            <a:spcBef>
              <a:spcPts val="0"/>
            </a:spcBef>
            <a:spcAft>
              <a:spcPts val="0"/>
            </a:spcAft>
            <a:buFont typeface="Calibri" panose="020F0502020204030204" pitchFamily="34" charset="0"/>
            <a:buChar char="•"/>
            <a:defRPr sz="1700" kern="6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0" indent="0" algn="l" defTabSz="914400" rtl="0" eaLnBrk="1" latinLnBrk="0" hangingPunct="1">
            <a:lnSpc>
              <a:spcPct val="107000"/>
            </a:lnSpc>
            <a:spcBef>
              <a:spcPts val="0"/>
            </a:spcBef>
            <a:spcAft>
              <a:spcPts val="0"/>
            </a:spcAft>
            <a:buFont typeface="Calibri" panose="020F0502020204030204" pitchFamily="34" charset="0"/>
            <a:buNone/>
            <a:defRPr sz="1500" kern="6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0000" indent="-180000" algn="l" defTabSz="914400" rtl="0" eaLnBrk="1" latinLnBrk="0" hangingPunct="1">
            <a:lnSpc>
              <a:spcPct val="107000"/>
            </a:lnSpc>
            <a:spcBef>
              <a:spcPts val="0"/>
            </a:spcBef>
            <a:buFont typeface="Calibri" panose="020F0502020204030204" pitchFamily="34" charset="0"/>
            <a:buChar char="•"/>
            <a:defRPr sz="1500" b="0" kern="600" cap="none" baseline="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0" indent="0" algn="l" defTabSz="914400" rtl="0" eaLnBrk="1" latinLnBrk="0" hangingPunct="1">
            <a:lnSpc>
              <a:spcPct val="107000"/>
            </a:lnSpc>
            <a:spcBef>
              <a:spcPts val="0"/>
            </a:spcBef>
            <a:buFont typeface="Arial" panose="020B0604020202020204" pitchFamily="34" charset="0"/>
            <a:buNone/>
            <a:defRPr sz="1300" b="0" i="0" kern="6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144000" indent="-144000" algn="l" defTabSz="914400" rtl="0" eaLnBrk="1" latinLnBrk="0" hangingPunct="1">
            <a:lnSpc>
              <a:spcPct val="107000"/>
            </a:lnSpc>
            <a:spcBef>
              <a:spcPts val="0"/>
            </a:spcBef>
            <a:buFont typeface="Calibri" panose="020F0502020204030204" pitchFamily="34" charset="0"/>
            <a:buChar char="•"/>
            <a:defRPr sz="1300" b="0" kern="6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0" indent="0" algn="l" defTabSz="914400" rtl="0" eaLnBrk="1" latinLnBrk="0" hangingPunct="1">
            <a:lnSpc>
              <a:spcPct val="107000"/>
            </a:lnSpc>
            <a:spcBef>
              <a:spcPts val="0"/>
            </a:spcBef>
            <a:buFont typeface="Arial" panose="020B0604020202020204" pitchFamily="34" charset="0"/>
            <a:buNone/>
            <a:defRPr sz="1100" kern="6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144000" indent="-144000" algn="l" defTabSz="914400" rtl="0" eaLnBrk="1" latinLnBrk="0" hangingPunct="1">
            <a:lnSpc>
              <a:spcPct val="107000"/>
            </a:lnSpc>
            <a:spcBef>
              <a:spcPts val="0"/>
            </a:spcBef>
            <a:buFont typeface="Calibri" panose="020F0502020204030204" pitchFamily="34" charset="0"/>
            <a:buChar char="•"/>
            <a:defRPr sz="1100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0" indent="0" algn="l" defTabSz="914400" rtl="0" eaLnBrk="1" latinLnBrk="0" hangingPunct="1">
            <a:lnSpc>
              <a:spcPct val="107000"/>
            </a:lnSpc>
            <a:spcBef>
              <a:spcPts val="0"/>
            </a:spcBef>
            <a:buFont typeface="Arial" panose="020B0604020202020204" pitchFamily="34" charset="0"/>
            <a:buNone/>
            <a:defRPr sz="900" i="1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2100" b="1" dirty="0" smtClean="0">
              <a:solidFill>
                <a:srgbClr val="E61C63"/>
              </a:solidFill>
            </a:rPr>
            <a:t>Goal &gt;1 </a:t>
          </a:r>
          <a:r>
            <a:rPr lang="en-US" sz="2100" b="1" dirty="0">
              <a:solidFill>
                <a:srgbClr val="E61C63"/>
              </a:solidFill>
            </a:rPr>
            <a:t>Million </a:t>
          </a:r>
          <a:r>
            <a:rPr lang="en-US" sz="2100" b="1" dirty="0" smtClean="0">
              <a:solidFill>
                <a:srgbClr val="E61C63"/>
              </a:solidFill>
            </a:rPr>
            <a:t>Charging Points by 2030</a:t>
          </a:r>
        </a:p>
        <a:p xmlns:a="http://schemas.openxmlformats.org/drawingml/2006/main">
          <a:r>
            <a:rPr lang="en-US" sz="2100" b="1" dirty="0" smtClean="0">
              <a:solidFill>
                <a:srgbClr val="E61C63"/>
              </a:solidFill>
            </a:rPr>
            <a:t>7-10 EV </a:t>
          </a:r>
          <a:r>
            <a:rPr lang="en-US" sz="2100" b="1" dirty="0" err="1" smtClean="0">
              <a:solidFill>
                <a:srgbClr val="E61C63"/>
              </a:solidFill>
            </a:rPr>
            <a:t>bis</a:t>
          </a:r>
          <a:r>
            <a:rPr lang="en-US" sz="2100" b="1" dirty="0" smtClean="0">
              <a:solidFill>
                <a:srgbClr val="E61C63"/>
              </a:solidFill>
            </a:rPr>
            <a:t> 2030</a:t>
          </a:r>
          <a:endParaRPr lang="en-US" sz="2100" b="1" dirty="0">
            <a:solidFill>
              <a:srgbClr val="E61C63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253266" y="9485749"/>
            <a:ext cx="359377" cy="13170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2AC2CD1F-7145-4F3A-8FFA-6C866680ECB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Picture 130" descr="Z:\Kunden\GTAI\_Stammdaten\GTAI_Logo_Farbverlaeufe_CMYK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1825" y="9496548"/>
            <a:ext cx="1509180" cy="245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 bwMode="gray">
          <a:xfrm>
            <a:off x="253266" y="9619867"/>
            <a:ext cx="1106200" cy="131703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r>
              <a:rPr lang="de-DE" sz="800" dirty="0">
                <a:solidFill>
                  <a:schemeClr val="tx2"/>
                </a:solidFill>
              </a:rPr>
              <a:t>© Germany Trade &amp; </a:t>
            </a:r>
            <a:r>
              <a:rPr lang="de-DE" sz="800" dirty="0" err="1">
                <a:solidFill>
                  <a:schemeClr val="tx2"/>
                </a:solidFill>
              </a:rPr>
              <a:t>Invest</a:t>
            </a:r>
            <a:endParaRPr lang="de-DE" sz="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7394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171450" y="449263"/>
            <a:ext cx="7140575" cy="4017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5" tIns="45638" rIns="91275" bIns="4563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53265" y="4715154"/>
            <a:ext cx="6287740" cy="4466987"/>
          </a:xfrm>
          <a:prstGeom prst="rect">
            <a:avLst/>
          </a:prstGeom>
        </p:spPr>
        <p:txBody>
          <a:bodyPr vert="horz" lIns="91275" tIns="45638" rIns="91275" bIns="45638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253266" y="9485749"/>
            <a:ext cx="359377" cy="13170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2AC2CD1F-7145-4F3A-8FFA-6C866680ECB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Picture 130" descr="Z:\Kunden\GTAI\_Stammdaten\GTAI_Logo_Farbverlaeufe_CMY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1825" y="9496548"/>
            <a:ext cx="1509180" cy="245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/>
        </p:nvSpPr>
        <p:spPr bwMode="gray">
          <a:xfrm>
            <a:off x="253266" y="9619867"/>
            <a:ext cx="1106200" cy="131703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r>
              <a:rPr lang="de-DE" sz="800" kern="600" baseline="0" dirty="0">
                <a:solidFill>
                  <a:schemeClr val="tx2"/>
                </a:solidFill>
              </a:rPr>
              <a:t>© Germany Trade &amp; </a:t>
            </a:r>
            <a:r>
              <a:rPr lang="de-DE" sz="800" kern="600" baseline="0" dirty="0" err="1">
                <a:solidFill>
                  <a:schemeClr val="tx2"/>
                </a:solidFill>
              </a:rPr>
              <a:t>Invest</a:t>
            </a:r>
            <a:endParaRPr lang="de-DE" sz="800" kern="600" baseline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5659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51849" rtl="0" eaLnBrk="1" latinLnBrk="0" hangingPunct="1">
      <a:spcBef>
        <a:spcPts val="1512"/>
      </a:spcBef>
      <a:defRPr sz="1512" b="1" kern="1200" cap="all" baseline="0">
        <a:solidFill>
          <a:schemeClr val="tx1"/>
        </a:solidFill>
        <a:latin typeface="+mn-lt"/>
        <a:ea typeface="+mn-ea"/>
        <a:cs typeface="+mn-cs"/>
      </a:defRPr>
    </a:lvl1pPr>
    <a:lvl2pPr marL="5999" indent="0" algn="l" defTabSz="1151849" rtl="0" eaLnBrk="1" latinLnBrk="0" hangingPunct="1">
      <a:spcBef>
        <a:spcPts val="504"/>
      </a:spcBef>
      <a:defRPr sz="1512" kern="1200">
        <a:solidFill>
          <a:schemeClr val="tx1"/>
        </a:solidFill>
        <a:latin typeface="+mn-lt"/>
        <a:ea typeface="+mn-ea"/>
        <a:cs typeface="+mn-cs"/>
      </a:defRPr>
    </a:lvl2pPr>
    <a:lvl3pPr marL="226743" indent="-226743" algn="l" defTabSz="1151849" rtl="0" eaLnBrk="1" latinLnBrk="0" hangingPunct="1">
      <a:spcBef>
        <a:spcPts val="252"/>
      </a:spcBef>
      <a:buFont typeface="Calibri" pitchFamily="34" charset="0"/>
      <a:buChar char="•"/>
      <a:defRPr sz="1512" kern="1200">
        <a:solidFill>
          <a:schemeClr val="tx1"/>
        </a:solidFill>
        <a:latin typeface="+mn-lt"/>
        <a:ea typeface="+mn-ea"/>
        <a:cs typeface="+mn-cs"/>
      </a:defRPr>
    </a:lvl3pPr>
    <a:lvl4pPr marL="453484" indent="-226743" algn="l" defTabSz="1151849" rtl="0" eaLnBrk="1" latinLnBrk="0" hangingPunct="1">
      <a:spcBef>
        <a:spcPts val="252"/>
      </a:spcBef>
      <a:buFont typeface="Calibri" pitchFamily="34" charset="0"/>
      <a:buChar char="–"/>
      <a:defRPr sz="1512" kern="1200">
        <a:solidFill>
          <a:schemeClr val="tx1"/>
        </a:solidFill>
        <a:latin typeface="+mn-lt"/>
        <a:ea typeface="+mn-ea"/>
        <a:cs typeface="+mn-cs"/>
      </a:defRPr>
    </a:lvl4pPr>
    <a:lvl5pPr marL="2303699" algn="l" defTabSz="1151849" rtl="0" eaLnBrk="1" latinLnBrk="0" hangingPunct="1">
      <a:defRPr sz="1512" kern="1200">
        <a:solidFill>
          <a:schemeClr val="tx1"/>
        </a:solidFill>
        <a:latin typeface="+mn-lt"/>
        <a:ea typeface="+mn-ea"/>
        <a:cs typeface="+mn-cs"/>
      </a:defRPr>
    </a:lvl5pPr>
    <a:lvl6pPr marL="2879624" algn="l" defTabSz="1151849" rtl="0" eaLnBrk="1" latinLnBrk="0" hangingPunct="1">
      <a:defRPr sz="1512" kern="1200">
        <a:solidFill>
          <a:schemeClr val="tx1"/>
        </a:solidFill>
        <a:latin typeface="+mn-lt"/>
        <a:ea typeface="+mn-ea"/>
        <a:cs typeface="+mn-cs"/>
      </a:defRPr>
    </a:lvl6pPr>
    <a:lvl7pPr marL="3455548" algn="l" defTabSz="1151849" rtl="0" eaLnBrk="1" latinLnBrk="0" hangingPunct="1">
      <a:defRPr sz="1512" kern="1200">
        <a:solidFill>
          <a:schemeClr val="tx1"/>
        </a:solidFill>
        <a:latin typeface="+mn-lt"/>
        <a:ea typeface="+mn-ea"/>
        <a:cs typeface="+mn-cs"/>
      </a:defRPr>
    </a:lvl7pPr>
    <a:lvl8pPr marL="4031473" algn="l" defTabSz="1151849" rtl="0" eaLnBrk="1" latinLnBrk="0" hangingPunct="1">
      <a:defRPr sz="1512" kern="1200">
        <a:solidFill>
          <a:schemeClr val="tx1"/>
        </a:solidFill>
        <a:latin typeface="+mn-lt"/>
        <a:ea typeface="+mn-ea"/>
        <a:cs typeface="+mn-cs"/>
      </a:defRPr>
    </a:lvl8pPr>
    <a:lvl9pPr marL="4607399" algn="l" defTabSz="1151849" rtl="0" eaLnBrk="1" latinLnBrk="0" hangingPunct="1">
      <a:defRPr sz="151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de-DE" dirty="0" err="1" smtClean="0"/>
              <a:t>I‘ll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animation</a:t>
            </a:r>
            <a:r>
              <a:rPr lang="de-DE" dirty="0" smtClean="0"/>
              <a:t> </a:t>
            </a:r>
            <a:r>
              <a:rPr lang="de-DE" dirty="0" err="1" smtClean="0"/>
              <a:t>because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show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mpressi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</a:t>
            </a:r>
            <a:r>
              <a:rPr lang="de-DE" dirty="0" err="1" smtClean="0"/>
              <a:t>evelopmen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newable</a:t>
            </a:r>
            <a:r>
              <a:rPr lang="de-DE" dirty="0" smtClean="0"/>
              <a:t> </a:t>
            </a:r>
            <a:r>
              <a:rPr lang="de-DE" dirty="0" err="1" smtClean="0"/>
              <a:t>energy</a:t>
            </a:r>
            <a:r>
              <a:rPr lang="de-DE" dirty="0" smtClean="0"/>
              <a:t> </a:t>
            </a:r>
            <a:r>
              <a:rPr lang="de-DE" dirty="0" err="1" smtClean="0"/>
              <a:t>sytems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r>
              <a:rPr lang="de-DE" dirty="0" smtClean="0"/>
              <a:t> time.</a:t>
            </a:r>
          </a:p>
          <a:p>
            <a:pPr lvl="1"/>
            <a:endParaRPr lang="de-DE" dirty="0" smtClean="0"/>
          </a:p>
          <a:p>
            <a:pPr lvl="1"/>
            <a:r>
              <a:rPr lang="de-DE" dirty="0" err="1" smtClean="0"/>
              <a:t>Starting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ear</a:t>
            </a:r>
            <a:r>
              <a:rPr lang="de-DE" baseline="0" dirty="0" smtClean="0"/>
              <a:t> 2000 </a:t>
            </a:r>
            <a:r>
              <a:rPr lang="de-DE" baseline="0" dirty="0" err="1" smtClean="0"/>
              <a:t>wh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eed</a:t>
            </a:r>
            <a:r>
              <a:rPr lang="de-DE" baseline="0" dirty="0" smtClean="0"/>
              <a:t>-in </a:t>
            </a:r>
            <a:r>
              <a:rPr lang="de-DE" baseline="0" dirty="0" err="1" smtClean="0"/>
              <a:t>tariff</a:t>
            </a:r>
            <a:r>
              <a:rPr lang="de-DE" baseline="0" dirty="0" smtClean="0"/>
              <a:t> was </a:t>
            </a:r>
            <a:r>
              <a:rPr lang="de-DE" baseline="0" dirty="0" err="1" smtClean="0"/>
              <a:t>introduc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nti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da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out</a:t>
            </a:r>
            <a:r>
              <a:rPr lang="de-DE" baseline="0" dirty="0" smtClean="0"/>
              <a:t> 1.8 </a:t>
            </a:r>
            <a:r>
              <a:rPr lang="de-DE" baseline="0" dirty="0" err="1" smtClean="0"/>
              <a:t>million</a:t>
            </a:r>
            <a:r>
              <a:rPr lang="de-DE" baseline="0" dirty="0" smtClean="0"/>
              <a:t> PV, Wind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iomass</a:t>
            </a:r>
            <a:r>
              <a:rPr lang="de-DE" baseline="0" dirty="0" smtClean="0"/>
              <a:t> System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2CD1F-7145-4F3A-8FFA-6C866680ECBC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70830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de-DE" dirty="0" err="1" smtClean="0"/>
              <a:t>I‘ll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animation</a:t>
            </a:r>
            <a:r>
              <a:rPr lang="de-DE" dirty="0" smtClean="0"/>
              <a:t> </a:t>
            </a:r>
            <a:r>
              <a:rPr lang="de-DE" dirty="0" err="1" smtClean="0"/>
              <a:t>because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show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mpressi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</a:t>
            </a:r>
            <a:r>
              <a:rPr lang="de-DE" dirty="0" err="1" smtClean="0"/>
              <a:t>evelopmen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newable</a:t>
            </a:r>
            <a:r>
              <a:rPr lang="de-DE" dirty="0" smtClean="0"/>
              <a:t> </a:t>
            </a:r>
            <a:r>
              <a:rPr lang="de-DE" dirty="0" err="1" smtClean="0"/>
              <a:t>energy</a:t>
            </a:r>
            <a:r>
              <a:rPr lang="de-DE" dirty="0" smtClean="0"/>
              <a:t> </a:t>
            </a:r>
            <a:r>
              <a:rPr lang="de-DE" dirty="0" err="1" smtClean="0"/>
              <a:t>sytems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r>
              <a:rPr lang="de-DE" dirty="0" smtClean="0"/>
              <a:t> time.</a:t>
            </a:r>
          </a:p>
          <a:p>
            <a:pPr lvl="1"/>
            <a:endParaRPr lang="de-DE" dirty="0" smtClean="0"/>
          </a:p>
          <a:p>
            <a:pPr lvl="1"/>
            <a:r>
              <a:rPr lang="de-DE" dirty="0" err="1" smtClean="0"/>
              <a:t>Starting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ear</a:t>
            </a:r>
            <a:r>
              <a:rPr lang="de-DE" baseline="0" dirty="0" smtClean="0"/>
              <a:t> 2000 </a:t>
            </a:r>
            <a:r>
              <a:rPr lang="de-DE" baseline="0" dirty="0" err="1" smtClean="0"/>
              <a:t>wh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eed</a:t>
            </a:r>
            <a:r>
              <a:rPr lang="de-DE" baseline="0" dirty="0" smtClean="0"/>
              <a:t>-in </a:t>
            </a:r>
            <a:r>
              <a:rPr lang="de-DE" baseline="0" dirty="0" err="1" smtClean="0"/>
              <a:t>tariff</a:t>
            </a:r>
            <a:r>
              <a:rPr lang="de-DE" baseline="0" dirty="0" smtClean="0"/>
              <a:t> was </a:t>
            </a:r>
            <a:r>
              <a:rPr lang="de-DE" baseline="0" dirty="0" err="1" smtClean="0"/>
              <a:t>introduc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nti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da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out</a:t>
            </a:r>
            <a:r>
              <a:rPr lang="de-DE" baseline="0" dirty="0" smtClean="0"/>
              <a:t> 1.8 </a:t>
            </a:r>
            <a:r>
              <a:rPr lang="de-DE" baseline="0" dirty="0" err="1" smtClean="0"/>
              <a:t>million</a:t>
            </a:r>
            <a:r>
              <a:rPr lang="de-DE" baseline="0" dirty="0" smtClean="0"/>
              <a:t> PV, Wind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iomass</a:t>
            </a:r>
            <a:r>
              <a:rPr lang="de-DE" baseline="0" dirty="0" smtClean="0"/>
              <a:t> System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2CD1F-7145-4F3A-8FFA-6C866680ECBC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1105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de-DE" dirty="0" err="1" smtClean="0"/>
              <a:t>I‘ll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animation</a:t>
            </a:r>
            <a:r>
              <a:rPr lang="de-DE" dirty="0" smtClean="0"/>
              <a:t> </a:t>
            </a:r>
            <a:r>
              <a:rPr lang="de-DE" dirty="0" err="1" smtClean="0"/>
              <a:t>because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show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mpressi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</a:t>
            </a:r>
            <a:r>
              <a:rPr lang="de-DE" dirty="0" err="1" smtClean="0"/>
              <a:t>evelopmen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newable</a:t>
            </a:r>
            <a:r>
              <a:rPr lang="de-DE" dirty="0" smtClean="0"/>
              <a:t> </a:t>
            </a:r>
            <a:r>
              <a:rPr lang="de-DE" dirty="0" err="1" smtClean="0"/>
              <a:t>energy</a:t>
            </a:r>
            <a:r>
              <a:rPr lang="de-DE" dirty="0" smtClean="0"/>
              <a:t> </a:t>
            </a:r>
            <a:r>
              <a:rPr lang="de-DE" dirty="0" err="1" smtClean="0"/>
              <a:t>sytems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r>
              <a:rPr lang="de-DE" dirty="0" smtClean="0"/>
              <a:t> time.</a:t>
            </a:r>
          </a:p>
          <a:p>
            <a:pPr lvl="1"/>
            <a:endParaRPr lang="de-DE" dirty="0" smtClean="0"/>
          </a:p>
          <a:p>
            <a:pPr lvl="1"/>
            <a:r>
              <a:rPr lang="de-DE" dirty="0" err="1" smtClean="0"/>
              <a:t>Starting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ear</a:t>
            </a:r>
            <a:r>
              <a:rPr lang="de-DE" baseline="0" dirty="0" smtClean="0"/>
              <a:t> 2000 </a:t>
            </a:r>
            <a:r>
              <a:rPr lang="de-DE" baseline="0" dirty="0" err="1" smtClean="0"/>
              <a:t>wh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eed</a:t>
            </a:r>
            <a:r>
              <a:rPr lang="de-DE" baseline="0" dirty="0" smtClean="0"/>
              <a:t>-in </a:t>
            </a:r>
            <a:r>
              <a:rPr lang="de-DE" baseline="0" dirty="0" err="1" smtClean="0"/>
              <a:t>tariff</a:t>
            </a:r>
            <a:r>
              <a:rPr lang="de-DE" baseline="0" dirty="0" smtClean="0"/>
              <a:t> was </a:t>
            </a:r>
            <a:r>
              <a:rPr lang="de-DE" baseline="0" dirty="0" err="1" smtClean="0"/>
              <a:t>introduc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nti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da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out</a:t>
            </a:r>
            <a:r>
              <a:rPr lang="de-DE" baseline="0" dirty="0" smtClean="0"/>
              <a:t> 1.8 </a:t>
            </a:r>
            <a:r>
              <a:rPr lang="de-DE" baseline="0" dirty="0" err="1" smtClean="0"/>
              <a:t>million</a:t>
            </a:r>
            <a:r>
              <a:rPr lang="de-DE" baseline="0" dirty="0" smtClean="0"/>
              <a:t> PV, Wind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iomass</a:t>
            </a:r>
            <a:r>
              <a:rPr lang="de-DE" baseline="0" dirty="0" smtClean="0"/>
              <a:t> System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2CD1F-7145-4F3A-8FFA-6C866680ECBC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67803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de-DE" dirty="0" err="1" smtClean="0"/>
              <a:t>I‘ll</a:t>
            </a:r>
            <a:r>
              <a:rPr lang="de-DE" dirty="0" smtClean="0"/>
              <a:t> 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animation</a:t>
            </a:r>
            <a:r>
              <a:rPr lang="de-DE" dirty="0" smtClean="0"/>
              <a:t> </a:t>
            </a:r>
            <a:r>
              <a:rPr lang="de-DE" dirty="0" err="1" smtClean="0"/>
              <a:t>because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show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mpressi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</a:t>
            </a:r>
            <a:r>
              <a:rPr lang="de-DE" dirty="0" err="1" smtClean="0"/>
              <a:t>evelopmen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newable</a:t>
            </a:r>
            <a:r>
              <a:rPr lang="de-DE" dirty="0" smtClean="0"/>
              <a:t> </a:t>
            </a:r>
            <a:r>
              <a:rPr lang="de-DE" dirty="0" err="1" smtClean="0"/>
              <a:t>energy</a:t>
            </a:r>
            <a:r>
              <a:rPr lang="de-DE" dirty="0" smtClean="0"/>
              <a:t> </a:t>
            </a:r>
            <a:r>
              <a:rPr lang="de-DE" dirty="0" err="1" smtClean="0"/>
              <a:t>sytems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r>
              <a:rPr lang="de-DE" dirty="0" smtClean="0"/>
              <a:t> time.</a:t>
            </a:r>
          </a:p>
          <a:p>
            <a:pPr lvl="1"/>
            <a:endParaRPr lang="de-DE" dirty="0" smtClean="0"/>
          </a:p>
          <a:p>
            <a:pPr lvl="1"/>
            <a:r>
              <a:rPr lang="de-DE" dirty="0" err="1" smtClean="0"/>
              <a:t>Starting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ear</a:t>
            </a:r>
            <a:r>
              <a:rPr lang="de-DE" baseline="0" dirty="0" smtClean="0"/>
              <a:t> 2000 </a:t>
            </a:r>
            <a:r>
              <a:rPr lang="de-DE" baseline="0" dirty="0" err="1" smtClean="0"/>
              <a:t>wh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eed</a:t>
            </a:r>
            <a:r>
              <a:rPr lang="de-DE" baseline="0" dirty="0" smtClean="0"/>
              <a:t>-in </a:t>
            </a:r>
            <a:r>
              <a:rPr lang="de-DE" baseline="0" dirty="0" err="1" smtClean="0"/>
              <a:t>tariff</a:t>
            </a:r>
            <a:r>
              <a:rPr lang="de-DE" baseline="0" dirty="0" smtClean="0"/>
              <a:t> was </a:t>
            </a:r>
            <a:r>
              <a:rPr lang="de-DE" baseline="0" dirty="0" err="1" smtClean="0"/>
              <a:t>introduc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nti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da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out</a:t>
            </a:r>
            <a:r>
              <a:rPr lang="de-DE" baseline="0" dirty="0" smtClean="0"/>
              <a:t> 1.8 </a:t>
            </a:r>
            <a:r>
              <a:rPr lang="de-DE" baseline="0" dirty="0" err="1" smtClean="0"/>
              <a:t>million</a:t>
            </a:r>
            <a:r>
              <a:rPr lang="de-DE" baseline="0" dirty="0" smtClean="0"/>
              <a:t> PV, Wind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iomass</a:t>
            </a:r>
            <a:r>
              <a:rPr lang="de-DE" baseline="0" dirty="0" smtClean="0"/>
              <a:t> System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2CD1F-7145-4F3A-8FFA-6C866680ECBC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58366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73038" y="449263"/>
            <a:ext cx="7156451" cy="40259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12"/>
            <a:endParaRPr lang="de-DE" b="0" cap="non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AC2CD1F-7145-4F3A-8FFA-6C866680ECBC}" type="slidenum">
              <a:rPr kumimoji="0" lang="de-DE" sz="800" b="0" i="0" u="none" strike="noStrike" kern="6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</a:t>
            </a:fld>
            <a:endParaRPr kumimoji="0" lang="de-DE" sz="800" b="0" i="0" u="none" strike="noStrike" kern="6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6522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600" noProof="0" dirty="0" err="1" smtClean="0">
                <a:solidFill>
                  <a:sysClr val="windowText" lastClr="000000"/>
                </a:solidFill>
              </a:rPr>
              <a:t>Energieeffiency</a:t>
            </a:r>
            <a:r>
              <a:rPr lang="en-US" sz="1600" baseline="0" noProof="0" dirty="0" smtClean="0">
                <a:solidFill>
                  <a:sysClr val="windowText" lastClr="000000"/>
                </a:solidFill>
              </a:rPr>
              <a:t> </a:t>
            </a:r>
            <a:r>
              <a:rPr lang="en-US" sz="1600" noProof="0" dirty="0" smtClean="0">
                <a:solidFill>
                  <a:sysClr val="windowText" lastClr="000000"/>
                </a:solidFill>
              </a:rPr>
              <a:t>2050 goal:</a:t>
            </a:r>
          </a:p>
          <a:p>
            <a:pPr lvl="0"/>
            <a:r>
              <a:rPr lang="en-US" sz="1600" b="1" noProof="0" dirty="0" smtClean="0">
                <a:solidFill>
                  <a:sysClr val="windowText" lastClr="000000"/>
                </a:solidFill>
              </a:rPr>
              <a:t>-50% </a:t>
            </a:r>
            <a:r>
              <a:rPr lang="en-US" sz="1600" noProof="0" dirty="0" smtClean="0">
                <a:solidFill>
                  <a:sysClr val="windowText" lastClr="000000"/>
                </a:solidFill>
              </a:rPr>
              <a:t>compared to 2008</a:t>
            </a:r>
          </a:p>
          <a:p>
            <a:pPr lvl="0"/>
            <a:endParaRPr lang="en-US" sz="1600" noProof="0" dirty="0" smtClean="0">
              <a:solidFill>
                <a:schemeClr val="tx1"/>
              </a:solidFill>
            </a:endParaRPr>
          </a:p>
          <a:p>
            <a:pPr lvl="0"/>
            <a:r>
              <a:rPr lang="en-US" sz="1600" noProof="0" dirty="0" smtClean="0">
                <a:solidFill>
                  <a:schemeClr val="tx1"/>
                </a:solidFill>
              </a:rPr>
              <a:t>RENEWABLE</a:t>
            </a:r>
            <a:r>
              <a:rPr lang="en-US" sz="1600" baseline="0" noProof="0" dirty="0" smtClean="0">
                <a:solidFill>
                  <a:schemeClr val="tx1"/>
                </a:solidFill>
              </a:rPr>
              <a:t> Energy in Electricity </a:t>
            </a:r>
            <a:r>
              <a:rPr lang="en-US" sz="1600" noProof="0" dirty="0" smtClean="0">
                <a:solidFill>
                  <a:schemeClr val="tx1"/>
                </a:solidFill>
              </a:rPr>
              <a:t>2050 goal:</a:t>
            </a:r>
          </a:p>
          <a:p>
            <a:pPr lvl="0"/>
            <a:r>
              <a:rPr lang="en-US" sz="1600" noProof="0" dirty="0" smtClean="0">
                <a:solidFill>
                  <a:schemeClr val="tx1"/>
                </a:solidFill>
              </a:rPr>
              <a:t>share of </a:t>
            </a:r>
            <a:r>
              <a:rPr lang="en-US" sz="1600" b="1" noProof="0" dirty="0" smtClean="0">
                <a:solidFill>
                  <a:schemeClr val="tx1"/>
                </a:solidFill>
              </a:rPr>
              <a:t>80%</a:t>
            </a:r>
          </a:p>
          <a:p>
            <a:endParaRPr lang="de-DE" dirty="0" smtClean="0"/>
          </a:p>
          <a:p>
            <a:pPr marL="0" marR="0" lvl="0" indent="0" algn="l" defTabSz="1151849" rtl="0" eaLnBrk="1" fontAlgn="auto" latinLnBrk="0" hangingPunct="1">
              <a:lnSpc>
                <a:spcPct val="100000"/>
              </a:lnSpc>
              <a:spcBef>
                <a:spcPts val="151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Renewable share in final energy consumption will rise to 60% by 2050</a:t>
            </a:r>
          </a:p>
          <a:p>
            <a:endParaRPr lang="de-DE" dirty="0" smtClean="0"/>
          </a:p>
          <a:p>
            <a:r>
              <a:rPr lang="de-DE" dirty="0" smtClean="0"/>
              <a:t>Plus: </a:t>
            </a:r>
            <a:r>
              <a:rPr lang="de-DE" dirty="0" err="1" smtClean="0"/>
              <a:t>Nuclear</a:t>
            </a:r>
            <a:r>
              <a:rPr lang="de-DE" baseline="0" dirty="0" smtClean="0"/>
              <a:t> Phase Out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al</a:t>
            </a:r>
            <a:r>
              <a:rPr lang="de-DE" baseline="0" dirty="0" smtClean="0"/>
              <a:t> Phase ou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C2CD1F-7145-4F3A-8FFA-6C866680ECBC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48379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 txBox="1"/>
          <p:nvPr/>
        </p:nvSpPr>
        <p:spPr>
          <a:xfrm>
            <a:off x="3849895" y="9428399"/>
            <a:ext cx="2946191" cy="496646"/>
          </a:xfrm>
          <a:prstGeom prst="rect">
            <a:avLst/>
          </a:prstGeom>
          <a:noFill/>
          <a:ln>
            <a:noFill/>
          </a:ln>
        </p:spPr>
        <p:txBody>
          <a:bodyPr vert="horz" wrap="square" lIns="91365" tIns="45683" rIns="91365" bIns="45683" anchor="b" anchorCtr="0" compatLnSpc="1"/>
          <a:lstStyle/>
          <a:p>
            <a:pPr algn="r" defTabSz="913658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5D7C7EC-CBB9-4F73-A694-2B25D4C07770}" type="slidenum">
              <a:rPr sz="1800" kern="0">
                <a:solidFill>
                  <a:srgbClr val="000000"/>
                </a:solidFill>
              </a:rPr>
              <a:pPr algn="r" defTabSz="913658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1</a:t>
            </a:fld>
            <a:endParaRPr lang="de-DE" sz="1200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 w="12701">
            <a:solidFill>
              <a:srgbClr val="000000"/>
            </a:solidFill>
            <a:prstDash val="solid"/>
            <a:miter/>
          </a:ln>
        </p:spPr>
      </p:sp>
      <p:sp>
        <p:nvSpPr>
          <p:cNvPr id="4" name="Rectangle 3"/>
          <p:cNvSpPr txBox="1">
            <a:spLocks noGrp="1"/>
          </p:cNvSpPr>
          <p:nvPr>
            <p:ph type="body" sz="quarter" idx="1"/>
          </p:nvPr>
        </p:nvSpPr>
        <p:spPr>
          <a:xfrm>
            <a:off x="906891" y="4714210"/>
            <a:ext cx="4983905" cy="4468257"/>
          </a:xfrm>
        </p:spPr>
        <p:txBody>
          <a:bodyPr/>
          <a:lstStyle/>
          <a:p>
            <a:r>
              <a:rPr lang="en-US" altLang="de-DE" b="0" cap="none" dirty="0" smtClean="0">
                <a:latin typeface="+mn-lt"/>
              </a:rPr>
              <a:t>We need to transport</a:t>
            </a:r>
          </a:p>
          <a:p>
            <a:endParaRPr lang="en-US" altLang="de-DE" b="0" cap="none" dirty="0" smtClean="0">
              <a:latin typeface="+mn-lt"/>
            </a:endParaRPr>
          </a:p>
          <a:p>
            <a:r>
              <a:rPr lang="en-US" altLang="de-DE" b="0" cap="none" dirty="0" smtClean="0">
                <a:latin typeface="+mn-lt"/>
              </a:rPr>
              <a:t>11GW Coal exit not included</a:t>
            </a:r>
          </a:p>
          <a:p>
            <a:endParaRPr lang="en-US" altLang="de-DE" b="0" cap="none" dirty="0" smtClean="0">
              <a:latin typeface="+mn-lt"/>
            </a:endParaRPr>
          </a:p>
          <a:p>
            <a:r>
              <a:rPr lang="en-US" altLang="de-DE" b="0" cap="none" dirty="0" smtClean="0">
                <a:latin typeface="+mn-lt"/>
              </a:rPr>
              <a:t>Build new power lines from north to south</a:t>
            </a:r>
          </a:p>
          <a:p>
            <a:r>
              <a:rPr lang="en-US" altLang="de-DE" b="0" cap="none" dirty="0" smtClean="0">
                <a:latin typeface="+mn-lt"/>
              </a:rPr>
              <a:t>60 </a:t>
            </a:r>
            <a:r>
              <a:rPr lang="en-US" altLang="de-DE" b="0" cap="none" dirty="0" err="1" smtClean="0">
                <a:latin typeface="+mn-lt"/>
              </a:rPr>
              <a:t>bn</a:t>
            </a:r>
            <a:r>
              <a:rPr lang="en-US" altLang="de-DE" b="0" cap="none" dirty="0" smtClean="0">
                <a:latin typeface="+mn-lt"/>
              </a:rPr>
              <a:t> until 2030 </a:t>
            </a:r>
          </a:p>
          <a:p>
            <a:r>
              <a:rPr lang="en-US" altLang="de-DE" b="0" cap="none" dirty="0" smtClean="0">
                <a:latin typeface="+mn-lt"/>
              </a:rPr>
              <a:t>Out of it 30 </a:t>
            </a:r>
            <a:r>
              <a:rPr lang="en-US" altLang="de-DE" b="0" cap="none" dirty="0" err="1" smtClean="0">
                <a:latin typeface="+mn-lt"/>
              </a:rPr>
              <a:t>bn</a:t>
            </a:r>
            <a:r>
              <a:rPr lang="en-US" altLang="de-DE" b="0" cap="none" dirty="0" smtClean="0">
                <a:latin typeface="+mn-lt"/>
              </a:rPr>
              <a:t> for DC</a:t>
            </a:r>
            <a:r>
              <a:rPr lang="en-US" altLang="de-DE" b="0" cap="none" baseline="0" dirty="0" smtClean="0">
                <a:latin typeface="+mn-lt"/>
              </a:rPr>
              <a:t> lines </a:t>
            </a:r>
          </a:p>
          <a:p>
            <a:r>
              <a:rPr lang="en-US" altLang="de-DE" b="0" cap="none" baseline="0" dirty="0" smtClean="0">
                <a:latin typeface="+mn-lt"/>
              </a:rPr>
              <a:t>10 </a:t>
            </a:r>
            <a:r>
              <a:rPr lang="en-US" altLang="de-DE" b="0" cap="none" baseline="0" dirty="0" err="1" smtClean="0">
                <a:latin typeface="+mn-lt"/>
              </a:rPr>
              <a:t>bn</a:t>
            </a:r>
            <a:r>
              <a:rPr lang="en-US" altLang="de-DE" b="0" cap="none" baseline="0" dirty="0" smtClean="0">
                <a:latin typeface="+mn-lt"/>
              </a:rPr>
              <a:t> offshore connections</a:t>
            </a:r>
          </a:p>
          <a:p>
            <a:r>
              <a:rPr lang="en-US" altLang="de-DE" b="0" cap="none" baseline="0" dirty="0" smtClean="0">
                <a:latin typeface="+mn-lt"/>
              </a:rPr>
              <a:t>2017 and 2018 More than 5 </a:t>
            </a:r>
            <a:r>
              <a:rPr lang="en-US" altLang="de-DE" b="0" cap="none" baseline="0" dirty="0" err="1" smtClean="0">
                <a:latin typeface="+mn-lt"/>
              </a:rPr>
              <a:t>TWh</a:t>
            </a:r>
            <a:r>
              <a:rPr lang="en-US" altLang="de-DE" b="0" cap="none" baseline="0" dirty="0" smtClean="0">
                <a:latin typeface="+mn-lt"/>
              </a:rPr>
              <a:t> was curtailed because of bottlenecks</a:t>
            </a:r>
          </a:p>
          <a:p>
            <a:endParaRPr lang="en-US" altLang="de-DE" b="0" cap="none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3063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water industry faces a variety of challenges in the futu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struction of new plants for sewage sludge disposal and the guarantee of an innovative phosphorus recov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roving energy efficiency in waste water treatment pl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roving the cleaning performance of wastewater treatment plants to include micro pollut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daptation of plants to climate change (e.g. heavy rain events or drough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gular maintenance and replacement investments in the networks also against the background of demographic change in many regions of Germ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igitalization of the water industry</a:t>
            </a:r>
          </a:p>
          <a:p>
            <a:pPr marL="0" marR="0" lvl="0" indent="0" algn="l" defTabSz="1151849" rtl="0" eaLnBrk="1" fontAlgn="auto" latinLnBrk="0" hangingPunct="1">
              <a:lnSpc>
                <a:spcPct val="100000"/>
              </a:lnSpc>
              <a:spcBef>
                <a:spcPts val="151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The challenges will require innovative technology and high investments in water management systems. GTAI is here to support your expansion to Germany. 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C2CD1F-7145-4F3A-8FFA-6C866680ECBC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70256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4" name="Picture 130" descr="Z:\Kunden\GTAI\_Stammdaten\GTAI_Logo_Farbverlaeufe_CMYK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60244" y="254502"/>
            <a:ext cx="2340000" cy="391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080246" y="1620086"/>
            <a:ext cx="6479993" cy="1080001"/>
          </a:xfrm>
        </p:spPr>
        <p:txBody>
          <a:bodyPr anchor="t" anchorCtr="0"/>
          <a:lstStyle>
            <a:lvl1pPr>
              <a:lnSpc>
                <a:spcPts val="4300"/>
              </a:lnSpc>
              <a:defRPr b="0" cap="all" spc="76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(max. </a:t>
            </a:r>
            <a:r>
              <a:rPr lang="en-US" noProof="0" dirty="0" err="1"/>
              <a:t>Zweizeilig</a:t>
            </a:r>
            <a:r>
              <a:rPr lang="en-US" noProof="0" dirty="0"/>
              <a:t>) – 4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080242" y="3060087"/>
            <a:ext cx="6479997" cy="720001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999" b="1" cap="all" spc="76" baseline="0">
                <a:solidFill>
                  <a:schemeClr val="bg1"/>
                </a:solidFill>
              </a:defRPr>
            </a:lvl1pPr>
            <a:lvl2pPr marL="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rt, Datum –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80242" y="4140087"/>
            <a:ext cx="6479997" cy="9000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300" kern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/>
              <a:t>Vorname</a:t>
            </a:r>
            <a:r>
              <a:rPr lang="en-US" noProof="0" dirty="0"/>
              <a:t> </a:t>
            </a:r>
            <a:r>
              <a:rPr lang="en-US" noProof="0" dirty="0" err="1"/>
              <a:t>Nachname</a:t>
            </a:r>
            <a:r>
              <a:rPr lang="en-US" noProof="0" dirty="0"/>
              <a:t> – 13 </a:t>
            </a:r>
            <a:r>
              <a:rPr lang="en-US" noProof="0" dirty="0" err="1"/>
              <a:t>pt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 err="1"/>
              <a:t>Titel</a:t>
            </a:r>
            <a:r>
              <a:rPr lang="en-US" noProof="0" dirty="0"/>
              <a:t>/Position</a:t>
            </a:r>
            <a:br>
              <a:rPr lang="en-US" noProof="0" dirty="0"/>
            </a:br>
            <a:r>
              <a:rPr lang="en-US" noProof="0" dirty="0" err="1"/>
              <a:t>www.gtai.d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1048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Bil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8744CFA8-CB79-8643-983C-385E8584C6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940246" y="-1"/>
            <a:ext cx="5580244" cy="6480000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2507BA9-7DB1-4C46-9CAA-08D8C7DE0D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2" y="360089"/>
            <a:ext cx="5040492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CCBCD2F3-2C78-C24F-8E43-73760B1FA0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2" y="1438775"/>
            <a:ext cx="5040492" cy="1081311"/>
          </a:xfrm>
        </p:spPr>
        <p:txBody>
          <a:bodyPr wrap="square" tIns="108000" bIns="0" anchor="t" anchorCtr="0"/>
          <a:lstStyle>
            <a:lvl1pPr>
              <a:lnSpc>
                <a:spcPct val="100000"/>
              </a:lnSpc>
              <a:defRPr sz="30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 err="1"/>
              <a:t>Folienunter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– Cambria, 3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F84A83E5-BD9F-F943-8D74-112811BF62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752" y="5759451"/>
            <a:ext cx="5040491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89EC9E0-F0D2-1A4B-8EC6-D95EC5501A7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39752" y="2879725"/>
            <a:ext cx="5058591" cy="2879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 marL="557877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535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14" userDrawn="1">
          <p15:clr>
            <a:srgbClr val="FBAE40"/>
          </p15:clr>
        </p15:guide>
        <p15:guide id="2" orient="horz" pos="158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A214906-E570-6846-9BF4-CEB363419980}"/>
              </a:ext>
            </a:extLst>
          </p:cNvPr>
          <p:cNvSpPr/>
          <p:nvPr userDrawn="1"/>
        </p:nvSpPr>
        <p:spPr>
          <a:xfrm>
            <a:off x="9900244" y="5580087"/>
            <a:ext cx="1080494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Font typeface="Calibri" pitchFamily="34" charset="0"/>
              <a:buChar char="•"/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8744CFA8-CB79-8643-983C-385E8584C6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940246" y="0"/>
            <a:ext cx="5580242" cy="6480175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9C57A5F-084F-8649-B8C0-55F81A64F5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60089"/>
            <a:ext cx="5040737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D3FA936-72E6-D74B-8E32-0BF0B048FF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752" y="5759451"/>
            <a:ext cx="5040491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15ACE358-DDDE-A743-A52A-5F3F4D979103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39750" y="1800226"/>
            <a:ext cx="5058591" cy="39592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 marL="557877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3755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 userDrawn="1">
          <p15:clr>
            <a:srgbClr val="FBAE40"/>
          </p15:clr>
        </p15:guide>
        <p15:guide id="2" orient="horz" pos="113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3">
            <a:extLst>
              <a:ext uri="{FF2B5EF4-FFF2-40B4-BE49-F238E27FC236}">
                <a16:creationId xmlns:a16="http://schemas.microsoft.com/office/drawing/2014/main" id="{A4BF6D58-3B84-DB42-91CC-D6EEE881CD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244" y="1080087"/>
            <a:ext cx="10440495" cy="2160000"/>
          </a:xfrm>
        </p:spPr>
        <p:txBody>
          <a:bodyPr/>
          <a:lstStyle>
            <a:lvl1pPr>
              <a:lnSpc>
                <a:spcPts val="6000"/>
              </a:lnSpc>
              <a:spcBef>
                <a:spcPts val="0"/>
              </a:spcBef>
              <a:defRPr sz="5400"/>
            </a:lvl1pPr>
          </a:lstStyle>
          <a:p>
            <a:r>
              <a:rPr lang="de-DE" dirty="0"/>
              <a:t>Ein alternatives Layout für aussagekräftige Statements. </a:t>
            </a:r>
            <a:br>
              <a:rPr lang="de-DE" dirty="0"/>
            </a:br>
            <a:r>
              <a:rPr lang="de-DE" dirty="0"/>
              <a:t>– Cambria, 54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BF6CD4E-13DA-C046-B957-2AAF2351B53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360363"/>
            <a:ext cx="10440988" cy="179387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de-DE" dirty="0"/>
              <a:t>OPTIONALER TITEL ZUM STATEMENT (LAYOUT „STATEMENT“) 20 PT</a:t>
            </a:r>
            <a:endParaRPr lang="en-US" noProof="0" dirty="0"/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CF434F09-457A-0A4D-B17A-C01B18A532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5642" y="5759450"/>
            <a:ext cx="10445096" cy="360363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01338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4E9B5E8A-A01E-0D44-B3F2-DEC82A52D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47119" y="1440087"/>
            <a:ext cx="10433619" cy="720000"/>
          </a:xfrm>
        </p:spPr>
        <p:txBody>
          <a:bodyPr wrap="square" tIns="108000" bIns="0" anchor="t" anchorCtr="0"/>
          <a:lstStyle>
            <a:lvl1pPr>
              <a:lnSpc>
                <a:spcPct val="100000"/>
              </a:lnSpc>
              <a:defRPr sz="30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 err="1"/>
              <a:t>Folienunter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– Cambria, 3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7AA257D9-0489-B34C-BACA-8246955EB6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5642" y="5759450"/>
            <a:ext cx="10445096" cy="360363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898E80BD-44DD-2542-AC66-8AAB7DB40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244" y="360089"/>
            <a:ext cx="10440495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</p:spTree>
    <p:extLst>
      <p:ext uri="{BB962C8B-B14F-4D97-AF65-F5344CB8AC3E}">
        <p14:creationId xmlns:p14="http://schemas.microsoft.com/office/powerpoint/2010/main" val="3341836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1" userDrawn="1">
          <p15:clr>
            <a:srgbClr val="FBAE40"/>
          </p15:clr>
        </p15:guide>
        <p15:guide id="2" orient="horz" pos="158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C9C2B1-54E5-4945-B3F4-201F385B3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1" y="360089"/>
            <a:ext cx="10440988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9D6DB48F-6EC2-C643-BDE8-9676D78ED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5642" y="5759450"/>
            <a:ext cx="10445096" cy="360363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821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 userDrawn="1">
          <p15:clr>
            <a:srgbClr val="FBAE40"/>
          </p15:clr>
        </p15:guide>
        <p15:guide id="2" orient="horz" pos="113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6">
            <a:extLst>
              <a:ext uri="{FF2B5EF4-FFF2-40B4-BE49-F238E27FC236}">
                <a16:creationId xmlns:a16="http://schemas.microsoft.com/office/drawing/2014/main" id="{BF885B12-D7C6-B94D-9BD6-2089D0D4029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539750" y="1800086"/>
            <a:ext cx="5040494" cy="395936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7" name="Inhaltsplatzhalter 9">
            <a:extLst>
              <a:ext uri="{FF2B5EF4-FFF2-40B4-BE49-F238E27FC236}">
                <a16:creationId xmlns:a16="http://schemas.microsoft.com/office/drawing/2014/main" id="{1189B000-3AF2-A840-81DE-19A2BB30532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5939634" y="1800087"/>
            <a:ext cx="5041106" cy="395936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23A9B98-C709-154E-9BAB-15D0567D00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9752" y="5760087"/>
            <a:ext cx="5038724" cy="360951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BF8A48EE-71A9-5944-B045-13F989984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244" y="360089"/>
            <a:ext cx="10440495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1BE369EC-895A-1D40-88FA-F3D9923D0C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942015" y="5760087"/>
            <a:ext cx="5038724" cy="360951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91809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 userDrawn="1">
          <p15:clr>
            <a:srgbClr val="FBAE40"/>
          </p15:clr>
        </p15:guide>
        <p15:guide id="2" orient="horz" pos="113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Conclu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E004CF23-7CAE-3048-8897-351C0CB04F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752" y="5759451"/>
            <a:ext cx="6120492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CD5031B-E23C-AC49-A8E7-32386698865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 bwMode="gray">
          <a:xfrm>
            <a:off x="539431" y="1800815"/>
            <a:ext cx="6120813" cy="395863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B7B825D-7EC7-4A43-86E4-C98AE375A7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20244" y="1800089"/>
            <a:ext cx="3960813" cy="3959225"/>
          </a:xfrm>
          <a:gradFill>
            <a:gsLst>
              <a:gs pos="5000">
                <a:srgbClr val="0059A3">
                  <a:lumMod val="90000"/>
                  <a:lumOff val="10000"/>
                </a:srgbClr>
              </a:gs>
              <a:gs pos="30000">
                <a:srgbClr val="008BD2"/>
              </a:gs>
              <a:gs pos="85000">
                <a:srgbClr val="5BC5F2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0" tIns="540000" rIns="540000" bIns="54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b="1" kern="1200" dirty="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 lvl="0" defTabSz="1151849" fontAlgn="base">
              <a:lnSpc>
                <a:spcPct val="100000"/>
              </a:lnSpc>
              <a:spcBef>
                <a:spcPct val="0"/>
              </a:spcBef>
            </a:pPr>
            <a:r>
              <a:rPr lang="de-DE" sz="2400" b="1" kern="1200" dirty="0" err="1">
                <a:solidFill>
                  <a:schemeClr val="bg1"/>
                </a:solidFill>
                <a:cs typeface="Arial" pitchFamily="34" charset="0"/>
              </a:rPr>
              <a:t>Konlusion</a:t>
            </a:r>
            <a:r>
              <a:rPr lang="de-DE" sz="2400" b="1" kern="1200" dirty="0">
                <a:solidFill>
                  <a:schemeClr val="bg1"/>
                </a:solidFill>
                <a:cs typeface="Arial" pitchFamily="34" charset="0"/>
              </a:rPr>
              <a:t>-Box für das Fazit einer Folie eingeben.</a:t>
            </a:r>
            <a:br>
              <a:rPr lang="de-DE" sz="2400" b="1" kern="12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2400" b="1" kern="1200" dirty="0">
                <a:solidFill>
                  <a:schemeClr val="bg1"/>
                </a:solidFill>
                <a:cs typeface="Arial" pitchFamily="34" charset="0"/>
              </a:rPr>
              <a:t>– Calibri, 24p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862006B1-CED8-6F43-804D-5C2BA4483E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244" y="360089"/>
            <a:ext cx="10440495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</p:spTree>
    <p:extLst>
      <p:ext uri="{BB962C8B-B14F-4D97-AF65-F5344CB8AC3E}">
        <p14:creationId xmlns:p14="http://schemas.microsoft.com/office/powerpoint/2010/main" val="596342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 userDrawn="1">
          <p15:clr>
            <a:srgbClr val="FBAE40"/>
          </p15:clr>
        </p15:guide>
        <p15:guide id="2" orient="horz" pos="113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Conclu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42850194-AE18-3F46-8DD5-81F8A8FA48B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752" y="5759451"/>
            <a:ext cx="5038724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98D68564-960C-AF49-AA28-2B614C415C0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 bwMode="gray">
          <a:xfrm>
            <a:off x="535301" y="1800815"/>
            <a:ext cx="6124943" cy="395863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1D629C76-9C7F-A54C-8684-D914E6AE1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244" y="360089"/>
            <a:ext cx="10440495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0BCCB446-4978-6F46-AC3B-AF74AC90B4A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19925" y="1800815"/>
            <a:ext cx="3960813" cy="3959225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0" tIns="540000" rIns="540000" bIns="54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b="1" kern="1200" dirty="0">
                <a:solidFill>
                  <a:schemeClr val="accent6"/>
                </a:solidFill>
                <a:cs typeface="Arial" pitchFamily="34" charset="0"/>
              </a:defRPr>
            </a:lvl1pPr>
          </a:lstStyle>
          <a:p>
            <a:pPr lvl="0" defTabSz="1151849" fontAlgn="base">
              <a:lnSpc>
                <a:spcPct val="100000"/>
              </a:lnSpc>
              <a:spcBef>
                <a:spcPct val="0"/>
              </a:spcBef>
            </a:pPr>
            <a:r>
              <a:rPr lang="de-DE" sz="2400" b="1" kern="1200" dirty="0">
                <a:solidFill>
                  <a:schemeClr val="accent6"/>
                </a:solidFill>
                <a:cs typeface="Arial" pitchFamily="34" charset="0"/>
              </a:rPr>
              <a:t>Konklusion-Box für das Fazit einer Folie eingeben.</a:t>
            </a:r>
            <a:br>
              <a:rPr lang="de-DE" sz="2400" b="1" kern="1200" dirty="0">
                <a:solidFill>
                  <a:schemeClr val="accent6"/>
                </a:solidFill>
                <a:cs typeface="Arial" pitchFamily="34" charset="0"/>
              </a:rPr>
            </a:br>
            <a:r>
              <a:rPr lang="de-DE" sz="2400" b="1" kern="1200" dirty="0">
                <a:solidFill>
                  <a:schemeClr val="accent6"/>
                </a:solidFill>
                <a:cs typeface="Arial" pitchFamily="34" charset="0"/>
              </a:rPr>
              <a:t>– Calibri, 24pt</a:t>
            </a:r>
          </a:p>
        </p:txBody>
      </p:sp>
    </p:spTree>
    <p:extLst>
      <p:ext uri="{BB962C8B-B14F-4D97-AF65-F5344CB8AC3E}">
        <p14:creationId xmlns:p14="http://schemas.microsoft.com/office/powerpoint/2010/main" val="1830828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 userDrawn="1">
          <p15:clr>
            <a:srgbClr val="FBAE40"/>
          </p15:clr>
        </p15:guide>
        <p15:guide id="2" orient="horz" pos="113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Conclusion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42850194-AE18-3F46-8DD5-81F8A8FA48B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752" y="5759451"/>
            <a:ext cx="6120492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98D68564-960C-AF49-AA28-2B614C415C0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 bwMode="gray">
          <a:xfrm>
            <a:off x="535301" y="2519363"/>
            <a:ext cx="6124943" cy="324008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6CFB4920-D260-D140-9F34-7CE02CC82F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19925" y="2519363"/>
            <a:ext cx="3960813" cy="324067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0" tIns="540000" rIns="540000" bIns="54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b="1" kern="1200" dirty="0">
                <a:solidFill>
                  <a:schemeClr val="accent6"/>
                </a:solidFill>
                <a:cs typeface="Arial" pitchFamily="34" charset="0"/>
              </a:defRPr>
            </a:lvl1pPr>
          </a:lstStyle>
          <a:p>
            <a:pPr lvl="0" defTabSz="1151849" fontAlgn="base">
              <a:lnSpc>
                <a:spcPct val="100000"/>
              </a:lnSpc>
              <a:spcBef>
                <a:spcPct val="0"/>
              </a:spcBef>
            </a:pPr>
            <a:r>
              <a:rPr lang="de-DE" sz="2400" b="1" kern="1200" dirty="0">
                <a:solidFill>
                  <a:schemeClr val="accent6"/>
                </a:solidFill>
                <a:cs typeface="Arial" pitchFamily="34" charset="0"/>
              </a:rPr>
              <a:t>Konklusion-Box für das Fazit einer Folie eingeben.</a:t>
            </a:r>
            <a:br>
              <a:rPr lang="de-DE" sz="2400" b="1" kern="1200" dirty="0">
                <a:solidFill>
                  <a:schemeClr val="accent6"/>
                </a:solidFill>
                <a:cs typeface="Arial" pitchFamily="34" charset="0"/>
              </a:rPr>
            </a:br>
            <a:r>
              <a:rPr lang="de-DE" sz="2400" b="1" kern="1200" dirty="0">
                <a:solidFill>
                  <a:schemeClr val="accent6"/>
                </a:solidFill>
                <a:cs typeface="Arial" pitchFamily="34" charset="0"/>
              </a:rPr>
              <a:t>– Calibri, 24pt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1D629C76-9C7F-A54C-8684-D914E6AE1F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244" y="360089"/>
            <a:ext cx="10440495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C28ACD19-D5AF-954B-906B-6949D2C3FA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2" y="1438776"/>
            <a:ext cx="10440492" cy="720000"/>
          </a:xfrm>
        </p:spPr>
        <p:txBody>
          <a:bodyPr wrap="square" tIns="108000" bIns="0" anchor="t" anchorCtr="0"/>
          <a:lstStyle>
            <a:lvl1pPr>
              <a:lnSpc>
                <a:spcPct val="100000"/>
              </a:lnSpc>
              <a:defRPr sz="30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 err="1"/>
              <a:t>Folienunter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– Cambria, 30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11022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7">
          <p15:clr>
            <a:srgbClr val="FBAE40"/>
          </p15:clr>
        </p15:guide>
        <p15:guide id="2" orient="horz" pos="136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Industrie Fakt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387C7AE7-1C6E-344A-96C9-1CCD576BB2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244" y="360089"/>
            <a:ext cx="10440495" cy="107868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98229D1-2B28-5549-A6F6-040994E2DA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769" y="1800277"/>
            <a:ext cx="3219450" cy="180022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 anchor="t" anchorCtr="0"/>
          <a:lstStyle>
            <a:lvl1pPr algn="ctr">
              <a:defRPr lang="de-DE" sz="7200" b="0" kern="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8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D033B6DA-97AC-8A40-8C28-08F0119128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0244" y="1800277"/>
            <a:ext cx="3219450" cy="180022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 anchor="t" anchorCtr="0"/>
          <a:lstStyle>
            <a:lvl1pPr algn="ctr">
              <a:defRPr lang="de-DE" sz="7200" b="0" kern="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8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1" name="Textplatzhalter 13">
            <a:extLst>
              <a:ext uri="{FF2B5EF4-FFF2-40B4-BE49-F238E27FC236}">
                <a16:creationId xmlns:a16="http://schemas.microsoft.com/office/drawing/2014/main" id="{5D6D35DC-9F30-5A47-89A8-2A8CA0C818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67793" y="1800277"/>
            <a:ext cx="3219450" cy="180022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 anchor="t" anchorCtr="0"/>
          <a:lstStyle>
            <a:lvl1pPr algn="ctr">
              <a:defRPr lang="de-DE" sz="7200" b="0" kern="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8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B934799B-2A86-854D-ADEE-E341213DF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51024" y="3060085"/>
            <a:ext cx="3215174" cy="546259"/>
          </a:xfrm>
        </p:spPr>
        <p:txBody>
          <a:bodyPr lIns="180000" tIns="72000" rIns="180000" anchor="t" anchorCtr="0"/>
          <a:lstStyle>
            <a:lvl1pPr algn="ctr">
              <a:defRPr sz="1600"/>
            </a:lvl1pPr>
          </a:lstStyle>
          <a:p>
            <a:r>
              <a:rPr lang="de-DE" dirty="0"/>
              <a:t>Beschreibung – Calibri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4" name="Textplatzhalter 13">
            <a:extLst>
              <a:ext uri="{FF2B5EF4-FFF2-40B4-BE49-F238E27FC236}">
                <a16:creationId xmlns:a16="http://schemas.microsoft.com/office/drawing/2014/main" id="{05EFFE5D-BAA5-DA49-8000-F792D394F6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6769" y="3956634"/>
            <a:ext cx="3219450" cy="180022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 anchor="t" anchorCtr="0"/>
          <a:lstStyle>
            <a:lvl1pPr algn="ctr">
              <a:defRPr lang="de-DE" sz="7200" b="0" kern="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8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61AE5FF9-D7AD-364F-B014-18D77F56F5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40244" y="3956634"/>
            <a:ext cx="3219450" cy="180022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 anchor="t" anchorCtr="0"/>
          <a:lstStyle>
            <a:lvl1pPr algn="ctr">
              <a:defRPr lang="de-DE" sz="7200" b="0" kern="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8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51874A6E-766D-1E49-96CE-1CE32EEDD3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67793" y="3956634"/>
            <a:ext cx="3219450" cy="180022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 anchor="t" anchorCtr="0"/>
          <a:lstStyle>
            <a:lvl1pPr algn="ctr">
              <a:defRPr lang="de-DE" sz="7200" b="0" kern="6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8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0" name="Textplatzhalter 18">
            <a:extLst>
              <a:ext uri="{FF2B5EF4-FFF2-40B4-BE49-F238E27FC236}">
                <a16:creationId xmlns:a16="http://schemas.microsoft.com/office/drawing/2014/main" id="{19923775-5A92-7C41-B0BA-F1F1E195CF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3665" y="3060085"/>
            <a:ext cx="3215174" cy="546259"/>
          </a:xfrm>
        </p:spPr>
        <p:txBody>
          <a:bodyPr lIns="180000" tIns="72000" rIns="180000" anchor="t" anchorCtr="0"/>
          <a:lstStyle>
            <a:lvl1pPr algn="ctr">
              <a:defRPr sz="1600"/>
            </a:lvl1pPr>
          </a:lstStyle>
          <a:p>
            <a:r>
              <a:rPr lang="de-DE" dirty="0"/>
              <a:t>Beschreibung – Calibri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1" name="Textplatzhalter 18">
            <a:extLst>
              <a:ext uri="{FF2B5EF4-FFF2-40B4-BE49-F238E27FC236}">
                <a16:creationId xmlns:a16="http://schemas.microsoft.com/office/drawing/2014/main" id="{AE035232-C3C3-4144-90E4-ED3E4A3956A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78479" y="3060085"/>
            <a:ext cx="3215174" cy="546259"/>
          </a:xfrm>
        </p:spPr>
        <p:txBody>
          <a:bodyPr lIns="180000" tIns="72000" rIns="180000" anchor="t" anchorCtr="0"/>
          <a:lstStyle>
            <a:lvl1pPr algn="ctr">
              <a:defRPr sz="1600"/>
            </a:lvl1pPr>
          </a:lstStyle>
          <a:p>
            <a:r>
              <a:rPr lang="de-DE" dirty="0"/>
              <a:t>Beschreibung – Calibri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3" name="Textplatzhalter 18">
            <a:extLst>
              <a:ext uri="{FF2B5EF4-FFF2-40B4-BE49-F238E27FC236}">
                <a16:creationId xmlns:a16="http://schemas.microsoft.com/office/drawing/2014/main" id="{0C87196F-85B5-8C49-B5B6-AB573F9B791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78479" y="5210433"/>
            <a:ext cx="3215174" cy="546259"/>
          </a:xfrm>
        </p:spPr>
        <p:txBody>
          <a:bodyPr lIns="180000" tIns="72000" rIns="180000" anchor="t" anchorCtr="0"/>
          <a:lstStyle>
            <a:lvl1pPr algn="ctr">
              <a:defRPr sz="1600"/>
            </a:lvl1pPr>
          </a:lstStyle>
          <a:p>
            <a:r>
              <a:rPr lang="de-DE" dirty="0"/>
              <a:t>Beschreibung – Calibri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4" name="Textplatzhalter 18">
            <a:extLst>
              <a:ext uri="{FF2B5EF4-FFF2-40B4-BE49-F238E27FC236}">
                <a16:creationId xmlns:a16="http://schemas.microsoft.com/office/drawing/2014/main" id="{B33CC58F-F985-BF49-B9F7-48209796472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40975" y="5210433"/>
            <a:ext cx="3215174" cy="546259"/>
          </a:xfrm>
        </p:spPr>
        <p:txBody>
          <a:bodyPr lIns="180000" tIns="72000" rIns="180000" anchor="t" anchorCtr="0"/>
          <a:lstStyle>
            <a:lvl1pPr algn="ctr">
              <a:defRPr sz="1600"/>
            </a:lvl1pPr>
          </a:lstStyle>
          <a:p>
            <a:r>
              <a:rPr lang="de-DE" dirty="0"/>
              <a:t>Beschreibung – Calibri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6" name="Textplatzhalter 18">
            <a:extLst>
              <a:ext uri="{FF2B5EF4-FFF2-40B4-BE49-F238E27FC236}">
                <a16:creationId xmlns:a16="http://schemas.microsoft.com/office/drawing/2014/main" id="{AF84437E-0A1B-4E46-9DDA-1B704214A51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3665" y="5210433"/>
            <a:ext cx="3215174" cy="546259"/>
          </a:xfrm>
        </p:spPr>
        <p:txBody>
          <a:bodyPr lIns="180000" tIns="72000" rIns="180000" anchor="t" anchorCtr="0"/>
          <a:lstStyle>
            <a:lvl1pPr algn="ctr">
              <a:defRPr sz="1600"/>
            </a:lvl1pPr>
          </a:lstStyle>
          <a:p>
            <a:r>
              <a:rPr lang="de-DE" dirty="0"/>
              <a:t>Beschreibung – Calibri, 16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4247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orient="horz" pos="90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4" name="Picture 130" descr="Z:\Kunden\GTAI\_Stammdaten\GTAI_Logo_Farbverlaeufe_CMYK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60244" y="254502"/>
            <a:ext cx="2340000" cy="391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080246" y="2160087"/>
            <a:ext cx="6479997" cy="1080000"/>
          </a:xfrm>
        </p:spPr>
        <p:txBody>
          <a:bodyPr anchor="t" anchorCtr="0"/>
          <a:lstStyle>
            <a:lvl1pPr>
              <a:lnSpc>
                <a:spcPts val="4300"/>
              </a:lnSpc>
              <a:defRPr b="0" cap="all" spc="76" baseline="0">
                <a:solidFill>
                  <a:schemeClr val="bg1"/>
                </a:solidFill>
              </a:defRPr>
            </a:lvl1pPr>
          </a:lstStyle>
          <a:p>
            <a:pPr>
              <a:buFontTx/>
            </a:pPr>
            <a:r>
              <a:rPr lang="en-US" dirty="0" err="1"/>
              <a:t>Titel</a:t>
            </a:r>
            <a:r>
              <a:rPr lang="en-US" dirty="0"/>
              <a:t> </a:t>
            </a:r>
            <a:r>
              <a:rPr lang="en-US" dirty="0" err="1"/>
              <a:t>eingeben</a:t>
            </a:r>
            <a:r>
              <a:rPr lang="en-US" dirty="0"/>
              <a:t> (max. </a:t>
            </a:r>
            <a:r>
              <a:rPr lang="en-US" dirty="0" err="1"/>
              <a:t>Zweizeilig</a:t>
            </a:r>
            <a:r>
              <a:rPr lang="en-US" dirty="0"/>
              <a:t>) –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080242" y="3610803"/>
            <a:ext cx="6479997" cy="349284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999" b="1" cap="all" spc="76" baseline="0">
                <a:solidFill>
                  <a:schemeClr val="bg1"/>
                </a:solidFill>
              </a:defRPr>
            </a:lvl1pPr>
            <a:lvl2pPr marL="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rt, Datum –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80242" y="4140087"/>
            <a:ext cx="6479997" cy="9000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300" kern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/>
              <a:t>Vorname</a:t>
            </a:r>
            <a:r>
              <a:rPr lang="en-US" noProof="0" dirty="0"/>
              <a:t> </a:t>
            </a:r>
            <a:r>
              <a:rPr lang="en-US" noProof="0" dirty="0" err="1"/>
              <a:t>Nachname</a:t>
            </a:r>
            <a:r>
              <a:rPr lang="en-US" noProof="0" dirty="0"/>
              <a:t> – 13 </a:t>
            </a:r>
            <a:r>
              <a:rPr lang="en-US" noProof="0" dirty="0" err="1"/>
              <a:t>pt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 err="1"/>
              <a:t>Titel</a:t>
            </a:r>
            <a:r>
              <a:rPr lang="en-US" noProof="0" dirty="0"/>
              <a:t>/Position</a:t>
            </a:r>
            <a:br>
              <a:rPr lang="en-US" noProof="0" dirty="0"/>
            </a:br>
            <a:r>
              <a:rPr lang="en-US" noProof="0" dirty="0" err="1"/>
              <a:t>www.gtai.de</a:t>
            </a:r>
            <a:endParaRPr lang="en-US" noProof="0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2BEF3E00-9673-0D47-95A5-E1294DE09A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80242" y="1630803"/>
            <a:ext cx="6480002" cy="349284"/>
          </a:xfrm>
        </p:spPr>
        <p:txBody>
          <a:bodyPr anchor="t" anchorCtr="0"/>
          <a:lstStyle>
            <a:lvl1pPr>
              <a:spcBef>
                <a:spcPts val="0"/>
              </a:spcBef>
              <a:spcAft>
                <a:spcPts val="0"/>
              </a:spcAft>
              <a:defRPr sz="2000" kern="600" spc="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OPTIONALE EYEBROW</a:t>
            </a:r>
          </a:p>
        </p:txBody>
      </p:sp>
    </p:spTree>
    <p:extLst>
      <p:ext uri="{BB962C8B-B14F-4D97-AF65-F5344CB8AC3E}">
        <p14:creationId xmlns:p14="http://schemas.microsoft.com/office/powerpoint/2010/main" val="42907260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dustrie Fakt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3">
            <a:extLst>
              <a:ext uri="{FF2B5EF4-FFF2-40B4-BE49-F238E27FC236}">
                <a16:creationId xmlns:a16="http://schemas.microsoft.com/office/drawing/2014/main" id="{C93B5535-1977-E443-A3DD-6A7EED95E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244" y="360089"/>
            <a:ext cx="10440495" cy="107868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FC67E17-763E-3D46-A272-D32D3A23CE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3223213"/>
            <a:ext cx="2339975" cy="233997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116000" anchor="b" anchorCtr="0"/>
          <a:lstStyle>
            <a:lvl1pPr algn="ctr">
              <a:lnSpc>
                <a:spcPts val="35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993F7A0-C1A8-3448-B819-4FA4747AD6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132" y="4393475"/>
            <a:ext cx="2339975" cy="1169987"/>
          </a:xfrm>
        </p:spPr>
        <p:txBody>
          <a:bodyPr lIns="180000" tIns="180000" rIns="180000" bIns="180000"/>
          <a:lstStyle>
            <a:lvl1pPr algn="ctr">
              <a:defRPr sz="2000"/>
            </a:lvl1pPr>
          </a:lstStyle>
          <a:p>
            <a:r>
              <a:rPr lang="de-DE" dirty="0"/>
              <a:t>Beschreibung </a:t>
            </a:r>
            <a:br>
              <a:rPr lang="de-DE" dirty="0"/>
            </a:br>
            <a:r>
              <a:rPr lang="de-DE" dirty="0"/>
              <a:t>– Calibri,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4327864-FB92-6749-9176-ED3C48EC9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244" y="3223213"/>
            <a:ext cx="2339975" cy="233997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116000" anchor="b" anchorCtr="0"/>
          <a:lstStyle>
            <a:lvl1pPr algn="ctr">
              <a:lnSpc>
                <a:spcPts val="35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DF6B91C-417D-F248-9707-3E29B488BC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626" y="4393475"/>
            <a:ext cx="2339975" cy="1169987"/>
          </a:xfrm>
        </p:spPr>
        <p:txBody>
          <a:bodyPr lIns="180000" tIns="180000" rIns="180000" bIns="180000"/>
          <a:lstStyle>
            <a:lvl1pPr algn="ctr">
              <a:defRPr sz="2000"/>
            </a:lvl1pPr>
          </a:lstStyle>
          <a:p>
            <a:r>
              <a:rPr lang="de-DE" dirty="0"/>
              <a:t>Beschreibung </a:t>
            </a:r>
            <a:br>
              <a:rPr lang="de-DE" dirty="0"/>
            </a:br>
            <a:r>
              <a:rPr lang="de-DE" dirty="0"/>
              <a:t>– Calibri,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9C21F190-1A0A-8B4E-A0EF-F02E746B11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0269" y="3223213"/>
            <a:ext cx="2339975" cy="233997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116000" anchor="b" anchorCtr="0"/>
          <a:lstStyle>
            <a:lvl1pPr algn="ctr">
              <a:lnSpc>
                <a:spcPts val="35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93A4BD21-17FF-D34F-9711-4EC4F399584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39651" y="4393475"/>
            <a:ext cx="2339975" cy="1169987"/>
          </a:xfrm>
        </p:spPr>
        <p:txBody>
          <a:bodyPr lIns="180000" tIns="180000" rIns="180000" bIns="180000"/>
          <a:lstStyle>
            <a:lvl1pPr marL="0" marR="0" indent="0" algn="ctr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r>
              <a:rPr lang="de-DE" dirty="0"/>
              <a:t>Beschreibung </a:t>
            </a:r>
            <a:br>
              <a:rPr lang="de-DE" dirty="0"/>
            </a:br>
            <a:r>
              <a:rPr lang="de-DE" dirty="0"/>
              <a:t>– Calibri,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6DD678B5-F7C3-F34B-AF1B-52B73D96FC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38539" y="3223213"/>
            <a:ext cx="2339975" cy="233997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116000" anchor="b" anchorCtr="0"/>
          <a:lstStyle>
            <a:lvl1pPr algn="ctr">
              <a:lnSpc>
                <a:spcPts val="35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4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7" name="Textplatzhalter 5">
            <a:extLst>
              <a:ext uri="{FF2B5EF4-FFF2-40B4-BE49-F238E27FC236}">
                <a16:creationId xmlns:a16="http://schemas.microsoft.com/office/drawing/2014/main" id="{1BFC54D8-F679-2143-8E2C-207921B62C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921" y="4393475"/>
            <a:ext cx="2339975" cy="1169987"/>
          </a:xfrm>
        </p:spPr>
        <p:txBody>
          <a:bodyPr lIns="180000" tIns="180000" rIns="180000" bIns="180000"/>
          <a:lstStyle>
            <a:lvl1pPr algn="ctr">
              <a:defRPr sz="2000"/>
            </a:lvl1pPr>
          </a:lstStyle>
          <a:p>
            <a:r>
              <a:rPr lang="de-DE" dirty="0"/>
              <a:t>Beschreibung </a:t>
            </a:r>
            <a:br>
              <a:rPr lang="de-DE" dirty="0"/>
            </a:br>
            <a:r>
              <a:rPr lang="de-DE" dirty="0"/>
              <a:t>– Calibri, 2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87B2226-0359-A641-A9D4-6F3CBC5C0F0C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 bwMode="gray">
          <a:xfrm>
            <a:off x="535301" y="1800225"/>
            <a:ext cx="10445437" cy="107868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778708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 userDrawn="1">
          <p15:clr>
            <a:srgbClr val="FBAE40"/>
          </p15:clr>
        </p15:guide>
        <p15:guide id="2" orient="horz" pos="90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kt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3">
            <a:extLst>
              <a:ext uri="{FF2B5EF4-FFF2-40B4-BE49-F238E27FC236}">
                <a16:creationId xmlns:a16="http://schemas.microsoft.com/office/drawing/2014/main" id="{C93B5535-1977-E443-A3DD-6A7EED95E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244" y="360089"/>
            <a:ext cx="10440495" cy="107868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  <a:endParaRPr lang="de-DE" dirty="0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A4327864-FB92-6749-9176-ED3C48EC9A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12749" y="1803343"/>
            <a:ext cx="7354989" cy="1076764"/>
          </a:xfrm>
          <a:solidFill>
            <a:schemeClr val="bg1">
              <a:lumMod val="95000"/>
            </a:schemeClr>
          </a:solidFill>
        </p:spPr>
        <p:txBody>
          <a:bodyPr wrap="square" lIns="288000" tIns="180000" rIns="180000" bIns="180000" anchor="ctr" anchorCtr="0"/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 – Calibri, 18-20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21502D-2554-3747-A837-ABCE2DAF07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349" y="1803782"/>
            <a:ext cx="3073400" cy="1076325"/>
          </a:xfrm>
          <a:gradFill>
            <a:gsLst>
              <a:gs pos="5000">
                <a:srgbClr val="0059A3">
                  <a:lumMod val="90000"/>
                  <a:lumOff val="10000"/>
                </a:srgbClr>
              </a:gs>
              <a:gs pos="30000">
                <a:srgbClr val="008BD2"/>
              </a:gs>
              <a:gs pos="85000">
                <a:srgbClr val="5BC5F2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08000" rIns="180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000" b="1" i="0" u="none" dirty="0" smtClean="0"/>
            </a:lvl1pPr>
          </a:lstStyle>
          <a:p>
            <a:pPr lvl="0"/>
            <a:r>
              <a:rPr lang="de-DE" i="0" dirty="0"/>
              <a:t>Diagrammpunkt eingeben – Calibri, 20 </a:t>
            </a:r>
            <a:r>
              <a:rPr lang="de-DE" i="0" dirty="0" err="1"/>
              <a:t>pt</a:t>
            </a:r>
            <a:endParaRPr lang="de-DE" i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97DF8E95-5C40-5444-95D6-C07589CD85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12749" y="3240082"/>
            <a:ext cx="7354989" cy="1076764"/>
          </a:xfrm>
          <a:solidFill>
            <a:schemeClr val="bg1">
              <a:lumMod val="95000"/>
            </a:schemeClr>
          </a:solidFill>
        </p:spPr>
        <p:txBody>
          <a:bodyPr wrap="square" lIns="288000" tIns="180000" rIns="180000" bIns="180000" anchor="ctr" anchorCtr="0"/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 – Calibri, 18-20p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6041E74-E714-F043-961E-016A56C23C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2749" y="4682686"/>
            <a:ext cx="7354989" cy="1076764"/>
          </a:xfrm>
          <a:solidFill>
            <a:schemeClr val="bg1">
              <a:lumMod val="95000"/>
            </a:schemeClr>
          </a:solidFill>
        </p:spPr>
        <p:txBody>
          <a:bodyPr wrap="square" lIns="288000" tIns="180000" rIns="180000" bIns="180000" anchor="ctr" anchorCtr="0"/>
          <a:lstStyle>
            <a:lvl1pPr algn="l"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 – Calibri, 18-20pt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284260B0-4F6D-2846-B3A8-AF42189F98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2750" y="3241813"/>
            <a:ext cx="3073400" cy="1076325"/>
          </a:xfrm>
          <a:gradFill>
            <a:gsLst>
              <a:gs pos="5000">
                <a:srgbClr val="0059A3">
                  <a:lumMod val="90000"/>
                  <a:lumOff val="10000"/>
                </a:srgbClr>
              </a:gs>
              <a:gs pos="30000">
                <a:srgbClr val="008BD2"/>
              </a:gs>
              <a:gs pos="85000">
                <a:srgbClr val="5BC5F2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08000" rIns="180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000" b="1" i="0" u="none" dirty="0"/>
            </a:lvl1pPr>
          </a:lstStyle>
          <a:p>
            <a:pPr lvl="0"/>
            <a:r>
              <a:rPr lang="de-DE" i="0" dirty="0"/>
              <a:t>Diagrammpunkt eingeben – Calibri, 20 </a:t>
            </a:r>
            <a:r>
              <a:rPr lang="de-DE" i="0" dirty="0" err="1"/>
              <a:t>pt</a:t>
            </a:r>
            <a:endParaRPr lang="de-DE" i="0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7E50AC0E-F90D-E143-9FAB-3C2DE6F807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2750" y="4681413"/>
            <a:ext cx="3073400" cy="1076325"/>
          </a:xfrm>
          <a:gradFill>
            <a:gsLst>
              <a:gs pos="5000">
                <a:srgbClr val="0059A3">
                  <a:lumMod val="90000"/>
                  <a:lumOff val="10000"/>
                </a:srgbClr>
              </a:gs>
              <a:gs pos="30000">
                <a:srgbClr val="008BD2"/>
              </a:gs>
              <a:gs pos="85000">
                <a:srgbClr val="5BC5F2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08000" rIns="180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000" b="1" i="0" u="none" dirty="0"/>
            </a:lvl1pPr>
          </a:lstStyle>
          <a:p>
            <a:pPr lvl="0"/>
            <a:r>
              <a:rPr lang="de-DE" i="0" dirty="0"/>
              <a:t>Diagrammpunkt eingeben – Calibri, 20 </a:t>
            </a:r>
            <a:r>
              <a:rPr lang="de-DE" i="0" dirty="0" err="1"/>
              <a:t>pt</a:t>
            </a:r>
            <a:endParaRPr lang="de-DE" i="0" dirty="0"/>
          </a:p>
        </p:txBody>
      </p:sp>
    </p:spTree>
    <p:extLst>
      <p:ext uri="{BB962C8B-B14F-4D97-AF65-F5344CB8AC3E}">
        <p14:creationId xmlns:p14="http://schemas.microsoft.com/office/powerpoint/2010/main" val="3323038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 userDrawn="1">
          <p15:clr>
            <a:srgbClr val="FBAE40"/>
          </p15:clr>
        </p15:guide>
        <p15:guide id="2" orient="horz" pos="113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2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7B3740B0-05F2-DB44-B044-6A0F8971D2C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0364" y="358775"/>
            <a:ext cx="10799762" cy="5761037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 algn="r">
              <a:defRPr sz="16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C6150D-7149-3040-B280-FFFB10A71ADD}"/>
              </a:ext>
            </a:extLst>
          </p:cNvPr>
          <p:cNvSpPr/>
          <p:nvPr userDrawn="1"/>
        </p:nvSpPr>
        <p:spPr>
          <a:xfrm>
            <a:off x="1080244" y="3"/>
            <a:ext cx="3780000" cy="6480175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997" tIns="323995" rIns="143998" bIns="1079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1152005">
              <a:spcBef>
                <a:spcPts val="756"/>
              </a:spcBef>
              <a:buFont typeface="Wingdings" pitchFamily="2" charset="2"/>
              <a:buNone/>
            </a:pPr>
            <a:endParaRPr lang="de-DE" sz="2500" b="1" dirty="0">
              <a:solidFill>
                <a:schemeClr val="bg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A28CADC-4A40-B645-AAF6-4B1229CA6B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86386" y="-1588"/>
            <a:ext cx="3780000" cy="6481763"/>
          </a:xfrm>
          <a:gradFill>
            <a:gsLst>
              <a:gs pos="4000">
                <a:srgbClr val="0059A3">
                  <a:lumMod val="90000"/>
                  <a:lumOff val="10000"/>
                  <a:alpha val="90000"/>
                </a:srgbClr>
              </a:gs>
              <a:gs pos="30000">
                <a:srgbClr val="008BD2">
                  <a:alpha val="90000"/>
                </a:srgbClr>
              </a:gs>
              <a:gs pos="85000">
                <a:srgbClr val="5BC5F2">
                  <a:alpha val="90000"/>
                </a:srgbClr>
              </a:gs>
            </a:gsLst>
            <a:lin ang="19200000" scaled="0"/>
          </a:gradFill>
        </p:spPr>
        <p:txBody>
          <a:bodyPr vert="horz" wrap="square" lIns="360000" tIns="1080000" rIns="360000" bIns="360000" rtlCol="0" anchor="t" anchorCtr="0">
            <a:noAutofit/>
          </a:bodyPr>
          <a:lstStyle>
            <a:lvl1pPr>
              <a:defRPr lang="de-DE" sz="2400" b="1" smtClean="0">
                <a:solidFill>
                  <a:schemeClr val="bg1"/>
                </a:solidFill>
              </a:defRPr>
            </a:lvl1pPr>
            <a:lvl2pPr marL="0" indent="-180000">
              <a:lnSpc>
                <a:spcPct val="100000"/>
              </a:lnSpc>
              <a:defRPr sz="20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 defTabSz="1152053">
              <a:lnSpc>
                <a:spcPct val="100000"/>
              </a:lnSpc>
            </a:pPr>
            <a:r>
              <a:rPr lang="de-DE" sz="2800" b="1" dirty="0">
                <a:solidFill>
                  <a:schemeClr val="bg1"/>
                </a:solidFill>
                <a:latin typeface="+mj-lt"/>
              </a:rPr>
              <a:t>Titel </a:t>
            </a:r>
            <a:br>
              <a:rPr lang="de-DE" sz="2800" b="1" dirty="0">
                <a:solidFill>
                  <a:schemeClr val="bg1"/>
                </a:solidFill>
                <a:latin typeface="+mj-lt"/>
              </a:rPr>
            </a:br>
            <a:r>
              <a:rPr lang="de-DE" sz="2800" b="1" dirty="0">
                <a:solidFill>
                  <a:schemeClr val="bg1"/>
                </a:solidFill>
                <a:latin typeface="+mj-lt"/>
              </a:rPr>
              <a:t>– Cambria, 28 </a:t>
            </a:r>
            <a:r>
              <a:rPr lang="de-DE" sz="2800" b="1" dirty="0" err="1">
                <a:solidFill>
                  <a:schemeClr val="bg1"/>
                </a:solidFill>
                <a:latin typeface="+mj-lt"/>
              </a:rPr>
              <a:t>pt</a:t>
            </a:r>
            <a:endParaRPr lang="de-DE" sz="2800" b="1" dirty="0">
              <a:solidFill>
                <a:schemeClr val="bg1"/>
              </a:solidFill>
              <a:latin typeface="+mj-lt"/>
            </a:endParaRPr>
          </a:p>
          <a:p>
            <a:pPr lvl="0" defTabSz="1152053">
              <a:lnSpc>
                <a:spcPts val="3000"/>
              </a:lnSpc>
            </a:pPr>
            <a:endParaRPr lang="de-DE" sz="2400" b="0" dirty="0">
              <a:solidFill>
                <a:schemeClr val="bg1"/>
              </a:solidFill>
            </a:endParaRPr>
          </a:p>
          <a:p>
            <a:pPr lvl="1"/>
            <a:r>
              <a:rPr lang="de-DE" sz="2000" dirty="0"/>
              <a:t>Listenpunkt – Calibri, 20 </a:t>
            </a:r>
            <a:r>
              <a:rPr lang="de-DE" sz="2000" dirty="0" err="1"/>
              <a:t>pt</a:t>
            </a:r>
            <a:endParaRPr lang="de-DE" sz="2000" dirty="0"/>
          </a:p>
          <a:p>
            <a:pPr lvl="1"/>
            <a:r>
              <a:rPr lang="de-DE" sz="2000" dirty="0"/>
              <a:t>Listenpunkt – Calibri, 20 </a:t>
            </a:r>
            <a:r>
              <a:rPr lang="de-DE" sz="2000" dirty="0" err="1"/>
              <a:t>pt</a:t>
            </a:r>
            <a:endParaRPr lang="de-DE" sz="2000" dirty="0"/>
          </a:p>
          <a:p>
            <a:pPr lvl="1"/>
            <a:r>
              <a:rPr lang="de-DE" sz="2000" dirty="0"/>
              <a:t>Listenpunkt – Calibri, 20 </a:t>
            </a:r>
            <a:r>
              <a:rPr lang="de-DE" sz="2000" dirty="0" err="1"/>
              <a:t>pt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9348360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Zita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6">
            <a:extLst>
              <a:ext uri="{FF2B5EF4-FFF2-40B4-BE49-F238E27FC236}">
                <a16:creationId xmlns:a16="http://schemas.microsoft.com/office/drawing/2014/main" id="{1B7D781C-B41B-E748-9B12-55294B8A61F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0364" y="358775"/>
            <a:ext cx="10799762" cy="5761037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 algn="l">
              <a:defRPr sz="16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AD6BD43-5564-4743-8E81-51A2CB84D0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60244" y="0"/>
            <a:ext cx="3781425" cy="6480175"/>
          </a:xfrm>
          <a:gradFill>
            <a:gsLst>
              <a:gs pos="4000">
                <a:srgbClr val="0059A3">
                  <a:lumMod val="90000"/>
                  <a:lumOff val="10000"/>
                  <a:alpha val="90000"/>
                </a:srgbClr>
              </a:gs>
              <a:gs pos="30000">
                <a:srgbClr val="008BD2">
                  <a:alpha val="90000"/>
                </a:srgbClr>
              </a:gs>
              <a:gs pos="85000">
                <a:srgbClr val="5BC5F2">
                  <a:alpha val="90000"/>
                </a:srgbClr>
              </a:gs>
            </a:gsLst>
            <a:lin ang="19200000" scaled="0"/>
          </a:gra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3992" tIns="323995" rIns="503992" bIns="107998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37600" b="1" i="0" baseline="-250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FontTx/>
              <a:buNone/>
              <a:defRPr sz="2400"/>
            </a:lvl2pPr>
            <a:lvl3pPr marL="272127" indent="0">
              <a:buFontTx/>
              <a:buNone/>
              <a:defRPr sz="2000" i="1"/>
            </a:lvl3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20000" b="1" i="0" baseline="-25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</a:p>
          <a:p>
            <a:pPr lvl="1"/>
            <a:r>
              <a:rPr lang="en-US" noProof="0" dirty="0" err="1"/>
              <a:t>Beispielzitat</a:t>
            </a:r>
            <a:r>
              <a:rPr lang="en-US" noProof="0" dirty="0"/>
              <a:t> </a:t>
            </a: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hier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und die </a:t>
            </a:r>
            <a:r>
              <a:rPr lang="en-US" noProof="0" dirty="0" err="1"/>
              <a:t>Abstände</a:t>
            </a:r>
            <a:r>
              <a:rPr lang="en-US" noProof="0" dirty="0"/>
              <a:t> </a:t>
            </a:r>
            <a:r>
              <a:rPr lang="en-US" noProof="0" dirty="0" err="1"/>
              <a:t>beacht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/>
              <a:t> – Calibri, 2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endParaRPr lang="en-US" noProof="0" dirty="0"/>
          </a:p>
          <a:p>
            <a:pPr lvl="2"/>
            <a:r>
              <a:rPr lang="en-US" noProof="0" dirty="0"/>
              <a:t>Max </a:t>
            </a:r>
            <a:r>
              <a:rPr lang="en-US" noProof="0" dirty="0" err="1"/>
              <a:t>Musterman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0141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 Industrie Logo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691EB36F-CB72-5A47-9863-6E2DCEBA1D53}"/>
              </a:ext>
            </a:extLst>
          </p:cNvPr>
          <p:cNvSpPr/>
          <p:nvPr userDrawn="1"/>
        </p:nvSpPr>
        <p:spPr>
          <a:xfrm>
            <a:off x="0" y="1620088"/>
            <a:ext cx="11520244" cy="4860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Font typeface="Calibri" pitchFamily="34" charset="0"/>
              <a:buChar char="•"/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FA6FB413-E803-BF4D-BC89-B933D061E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244" y="360089"/>
            <a:ext cx="10440495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(Cambria 40 </a:t>
            </a:r>
            <a:r>
              <a:rPr lang="en-US" noProof="0" dirty="0" err="1"/>
              <a:t>pt</a:t>
            </a:r>
            <a:r>
              <a:rPr lang="en-US" noProof="0" dirty="0"/>
              <a:t> bold)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F74AE61-0206-B94A-813D-408DB6FE6ED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65501" y="1944688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  <a:p>
            <a:endParaRPr lang="de-DE" dirty="0"/>
          </a:p>
        </p:txBody>
      </p:sp>
      <p:sp>
        <p:nvSpPr>
          <p:cNvPr id="33" name="Bildplatzhalter 2">
            <a:extLst>
              <a:ext uri="{FF2B5EF4-FFF2-40B4-BE49-F238E27FC236}">
                <a16:creationId xmlns:a16="http://schemas.microsoft.com/office/drawing/2014/main" id="{8055CAB5-FDAE-FC4F-83AF-3D0D46B089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199231" y="1944688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34" name="Bildplatzhalter 2">
            <a:extLst>
              <a:ext uri="{FF2B5EF4-FFF2-40B4-BE49-F238E27FC236}">
                <a16:creationId xmlns:a16="http://schemas.microsoft.com/office/drawing/2014/main" id="{D8725851-BC5D-9B48-A840-DB69614477C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32961" y="1944688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35" name="Bildplatzhalter 2">
            <a:extLst>
              <a:ext uri="{FF2B5EF4-FFF2-40B4-BE49-F238E27FC236}">
                <a16:creationId xmlns:a16="http://schemas.microsoft.com/office/drawing/2014/main" id="{4581851E-1256-4442-8E92-EA439463C6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66691" y="1944688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36" name="Bildplatzhalter 2">
            <a:extLst>
              <a:ext uri="{FF2B5EF4-FFF2-40B4-BE49-F238E27FC236}">
                <a16:creationId xmlns:a16="http://schemas.microsoft.com/office/drawing/2014/main" id="{8E9501B4-EAE6-C84E-9C85-200C9F5EDA4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00421" y="1944688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37" name="Bildplatzhalter 2">
            <a:extLst>
              <a:ext uri="{FF2B5EF4-FFF2-40B4-BE49-F238E27FC236}">
                <a16:creationId xmlns:a16="http://schemas.microsoft.com/office/drawing/2014/main" id="{C1D6F131-E5B0-0545-B8B7-80B14D8E65B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534150" y="1944688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0" name="Bildplatzhalter 2">
            <a:extLst>
              <a:ext uri="{FF2B5EF4-FFF2-40B4-BE49-F238E27FC236}">
                <a16:creationId xmlns:a16="http://schemas.microsoft.com/office/drawing/2014/main" id="{E5DE6ABC-0B5F-B545-B23D-FB247EF46B9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65501" y="5219701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1" name="Bildplatzhalter 2">
            <a:extLst>
              <a:ext uri="{FF2B5EF4-FFF2-40B4-BE49-F238E27FC236}">
                <a16:creationId xmlns:a16="http://schemas.microsoft.com/office/drawing/2014/main" id="{CDC31740-4691-7845-A6D6-D2E03382A79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199231" y="5219701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2" name="Bildplatzhalter 2">
            <a:extLst>
              <a:ext uri="{FF2B5EF4-FFF2-40B4-BE49-F238E27FC236}">
                <a16:creationId xmlns:a16="http://schemas.microsoft.com/office/drawing/2014/main" id="{5C15B381-8216-7241-A62E-19FF7B3F086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032961" y="5219701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3" name="Bildplatzhalter 2">
            <a:extLst>
              <a:ext uri="{FF2B5EF4-FFF2-40B4-BE49-F238E27FC236}">
                <a16:creationId xmlns:a16="http://schemas.microsoft.com/office/drawing/2014/main" id="{BBCD4E8D-A995-C845-9A63-8E7A0CB0CC2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866691" y="5219701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4" name="Bildplatzhalter 2">
            <a:extLst>
              <a:ext uri="{FF2B5EF4-FFF2-40B4-BE49-F238E27FC236}">
                <a16:creationId xmlns:a16="http://schemas.microsoft.com/office/drawing/2014/main" id="{6C51DF85-C9A2-1F41-B150-F04C08C77B9E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7700421" y="5219701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5" name="Bildplatzhalter 2">
            <a:extLst>
              <a:ext uri="{FF2B5EF4-FFF2-40B4-BE49-F238E27FC236}">
                <a16:creationId xmlns:a16="http://schemas.microsoft.com/office/drawing/2014/main" id="{94019FC9-279A-214D-9EE5-B4DAA37F101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534150" y="5219701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28" name="Bildplatzhalter 2">
            <a:extLst>
              <a:ext uri="{FF2B5EF4-FFF2-40B4-BE49-F238E27FC236}">
                <a16:creationId xmlns:a16="http://schemas.microsoft.com/office/drawing/2014/main" id="{3CDC6286-958E-BC4A-9459-B282A4BE29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65501" y="4128030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29" name="Bildplatzhalter 2">
            <a:extLst>
              <a:ext uri="{FF2B5EF4-FFF2-40B4-BE49-F238E27FC236}">
                <a16:creationId xmlns:a16="http://schemas.microsoft.com/office/drawing/2014/main" id="{BC08ECC2-7BF2-FC46-A130-A0C97A79D33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199231" y="4128030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30" name="Bildplatzhalter 2">
            <a:extLst>
              <a:ext uri="{FF2B5EF4-FFF2-40B4-BE49-F238E27FC236}">
                <a16:creationId xmlns:a16="http://schemas.microsoft.com/office/drawing/2014/main" id="{1ADE2C07-CB4B-2D4F-9599-870744E52E39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32961" y="4128030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31" name="Bildplatzhalter 2">
            <a:extLst>
              <a:ext uri="{FF2B5EF4-FFF2-40B4-BE49-F238E27FC236}">
                <a16:creationId xmlns:a16="http://schemas.microsoft.com/office/drawing/2014/main" id="{3F3E4744-1C53-9C41-9563-67FF0EC4041B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866691" y="4128030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6" name="Bildplatzhalter 2">
            <a:extLst>
              <a:ext uri="{FF2B5EF4-FFF2-40B4-BE49-F238E27FC236}">
                <a16:creationId xmlns:a16="http://schemas.microsoft.com/office/drawing/2014/main" id="{B4692AFE-F41C-6E41-A7C5-9D849C8BF49F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7700421" y="4128030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7" name="Bildplatzhalter 2">
            <a:extLst>
              <a:ext uri="{FF2B5EF4-FFF2-40B4-BE49-F238E27FC236}">
                <a16:creationId xmlns:a16="http://schemas.microsoft.com/office/drawing/2014/main" id="{861538C0-6E29-9541-BF16-D6DC0F1CD28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534150" y="4128030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8" name="Bildplatzhalter 2">
            <a:extLst>
              <a:ext uri="{FF2B5EF4-FFF2-40B4-BE49-F238E27FC236}">
                <a16:creationId xmlns:a16="http://schemas.microsoft.com/office/drawing/2014/main" id="{3CD3C079-ECAD-E24A-95A1-ABA89C33BBE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65501" y="3036359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59" name="Bildplatzhalter 2">
            <a:extLst>
              <a:ext uri="{FF2B5EF4-FFF2-40B4-BE49-F238E27FC236}">
                <a16:creationId xmlns:a16="http://schemas.microsoft.com/office/drawing/2014/main" id="{F2E1A558-5132-C840-A0EB-1B02A8E2FFE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199231" y="3036359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60" name="Bildplatzhalter 2">
            <a:extLst>
              <a:ext uri="{FF2B5EF4-FFF2-40B4-BE49-F238E27FC236}">
                <a16:creationId xmlns:a16="http://schemas.microsoft.com/office/drawing/2014/main" id="{70DC31EF-D0EB-DE47-9337-A39454DCBC17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032961" y="3036359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61" name="Bildplatzhalter 2">
            <a:extLst>
              <a:ext uri="{FF2B5EF4-FFF2-40B4-BE49-F238E27FC236}">
                <a16:creationId xmlns:a16="http://schemas.microsoft.com/office/drawing/2014/main" id="{B5BA25B9-57D9-7244-9037-552B440F7F91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866691" y="3036359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62" name="Bildplatzhalter 2">
            <a:extLst>
              <a:ext uri="{FF2B5EF4-FFF2-40B4-BE49-F238E27FC236}">
                <a16:creationId xmlns:a16="http://schemas.microsoft.com/office/drawing/2014/main" id="{32C969F5-3737-144D-9620-1FC32ACAEE1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7700421" y="3036359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  <p:sp>
        <p:nvSpPr>
          <p:cNvPr id="63" name="Bildplatzhalter 2">
            <a:extLst>
              <a:ext uri="{FF2B5EF4-FFF2-40B4-BE49-F238E27FC236}">
                <a16:creationId xmlns:a16="http://schemas.microsoft.com/office/drawing/2014/main" id="{9F0C961C-9046-5744-A318-00AC04D10C56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9534150" y="3036359"/>
            <a:ext cx="1620837" cy="900112"/>
          </a:xfrm>
          <a:solidFill>
            <a:schemeClr val="bg1"/>
          </a:solidFill>
        </p:spPr>
        <p:txBody>
          <a:bodyPr lIns="108000" tIns="108000" rIns="108000" bIns="10800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Durch klicken auf das Symbol das Logo einfügen</a:t>
            </a:r>
          </a:p>
        </p:txBody>
      </p:sp>
    </p:spTree>
    <p:extLst>
      <p:ext uri="{BB962C8B-B14F-4D97-AF65-F5344CB8AC3E}">
        <p14:creationId xmlns:p14="http://schemas.microsoft.com/office/powerpoint/2010/main" val="17228140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1EF938E5-62F3-A748-A889-3205754AD78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0" y="0"/>
            <a:ext cx="11520488" cy="6480175"/>
          </a:xfrm>
          <a:gradFill>
            <a:gsLst>
              <a:gs pos="5000">
                <a:srgbClr val="0059A3">
                  <a:lumMod val="90000"/>
                  <a:lumOff val="10000"/>
                </a:srgbClr>
              </a:gs>
              <a:gs pos="30000">
                <a:srgbClr val="008BD2"/>
              </a:gs>
              <a:gs pos="85000">
                <a:srgbClr val="5BC5F2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0" tIns="540000" rIns="540000" bIns="54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ctr">
              <a:defRPr lang="de-DE" b="1" kern="1200" dirty="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de-DE" sz="2400" b="0" i="0" dirty="0" err="1"/>
              <a:t>For</a:t>
            </a:r>
            <a:r>
              <a:rPr lang="de-DE" sz="2400" b="0" i="0" dirty="0"/>
              <a:t> </a:t>
            </a:r>
            <a:r>
              <a:rPr lang="de-DE" sz="2400" b="0" i="0" dirty="0" err="1"/>
              <a:t>more</a:t>
            </a:r>
            <a:r>
              <a:rPr lang="de-DE" sz="2400" b="0" i="0" dirty="0"/>
              <a:t> </a:t>
            </a:r>
            <a:r>
              <a:rPr lang="de-DE" sz="2400" b="0" i="0" dirty="0" err="1"/>
              <a:t>information</a:t>
            </a:r>
            <a:r>
              <a:rPr lang="de-DE" sz="2400" b="0" i="0" dirty="0"/>
              <a:t> </a:t>
            </a:r>
            <a:r>
              <a:rPr lang="de-DE" sz="2400" b="0" i="0" dirty="0" err="1"/>
              <a:t>please</a:t>
            </a:r>
            <a:r>
              <a:rPr lang="de-DE" sz="2400" b="0" i="0" dirty="0"/>
              <a:t> </a:t>
            </a:r>
            <a:r>
              <a:rPr lang="de-DE" sz="2400" b="0" i="0" dirty="0" err="1"/>
              <a:t>visit</a:t>
            </a:r>
            <a:r>
              <a:rPr lang="de-DE" sz="2400" b="0" i="0" dirty="0"/>
              <a:t> – Calibri, 24 </a:t>
            </a:r>
            <a:r>
              <a:rPr lang="de-DE" sz="2400" b="0" i="0" dirty="0" err="1"/>
              <a:t>pt</a:t>
            </a:r>
            <a:endParaRPr lang="de-DE" sz="2400" b="0" i="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4800" dirty="0" err="1"/>
              <a:t>www.gtai.com</a:t>
            </a:r>
            <a:r>
              <a:rPr lang="de-DE" sz="4800" dirty="0"/>
              <a:t> – Calibri, 48 </a:t>
            </a:r>
            <a:r>
              <a:rPr lang="de-DE" sz="4800" dirty="0" err="1"/>
              <a:t>pt</a:t>
            </a:r>
            <a:endParaRPr lang="de-DE" sz="4800" dirty="0"/>
          </a:p>
        </p:txBody>
      </p:sp>
    </p:spTree>
    <p:extLst>
      <p:ext uri="{BB962C8B-B14F-4D97-AF65-F5344CB8AC3E}">
        <p14:creationId xmlns:p14="http://schemas.microsoft.com/office/powerpoint/2010/main" val="23927414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56028" y="603017"/>
            <a:ext cx="10205157" cy="510746"/>
          </a:xfrm>
        </p:spPr>
        <p:txBody>
          <a:bodyPr tIns="79200"/>
          <a:lstStyle>
            <a:lvl1pPr>
              <a:defRPr sz="1417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Optionaler Titel zum Statement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6028" y="1113765"/>
            <a:ext cx="10205157" cy="4847399"/>
          </a:xfrm>
        </p:spPr>
        <p:txBody>
          <a:bodyPr/>
          <a:lstStyle>
            <a:lvl1pPr>
              <a:defRPr sz="3402" b="1">
                <a:solidFill>
                  <a:schemeClr val="tx2"/>
                </a:solidFill>
                <a:latin typeface="+mj-lt"/>
              </a:defRPr>
            </a:lvl1pPr>
            <a:lvl2pPr marL="204098" indent="-204098">
              <a:defRPr/>
            </a:lvl2pPr>
            <a:lvl3pPr marL="408197" indent="-204098">
              <a:defRPr/>
            </a:lvl3pPr>
          </a:lstStyle>
          <a:p>
            <a:pPr lvl="0"/>
            <a:r>
              <a:rPr lang="en-US" noProof="0" smtClean="0"/>
              <a:t>Statement eingeb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462664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4" name="Picture 130" descr="Z:\Kunden\GTAI\_Stammdaten\GTAI_Logo_Farbverlaeufe_CMYK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208" y="242485"/>
            <a:ext cx="2721294" cy="454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224115" y="1794221"/>
            <a:ext cx="6350621" cy="1063139"/>
          </a:xfrm>
          <a:prstGeom prst="rect">
            <a:avLst/>
          </a:prstGeom>
        </p:spPr>
        <p:txBody>
          <a:bodyPr/>
          <a:lstStyle>
            <a:lvl1pPr>
              <a:lnSpc>
                <a:spcPts val="3780"/>
              </a:lnSpc>
              <a:defRPr b="0" cap="all" spc="76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(max. </a:t>
            </a:r>
            <a:r>
              <a:rPr lang="en-US" noProof="0" dirty="0" err="1"/>
              <a:t>Zweizeilig</a:t>
            </a:r>
            <a:r>
              <a:rPr lang="en-US" noProof="0" dirty="0"/>
              <a:t>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224119" y="3240093"/>
            <a:ext cx="6350617" cy="65375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268" b="1" cap="all" spc="76" baseline="0">
                <a:solidFill>
                  <a:schemeClr val="bg1"/>
                </a:solidFill>
              </a:defRPr>
            </a:lvl1pPr>
            <a:lvl2pPr marL="576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Ort, Datum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24119" y="4345619"/>
            <a:ext cx="6350617" cy="850646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386" kern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Vorname Nachname</a:t>
            </a:r>
            <a:br>
              <a:rPr lang="en-US" noProof="0"/>
            </a:br>
            <a:r>
              <a:rPr lang="en-US" noProof="0"/>
              <a:t>Titel/Position</a:t>
            </a:r>
            <a:br>
              <a:rPr lang="en-US" noProof="0"/>
            </a:br>
            <a:r>
              <a:rPr lang="en-US" noProof="0"/>
              <a:t>www.gtai.de</a:t>
            </a:r>
          </a:p>
        </p:txBody>
      </p:sp>
    </p:spTree>
    <p:extLst>
      <p:ext uri="{BB962C8B-B14F-4D97-AF65-F5344CB8AC3E}">
        <p14:creationId xmlns:p14="http://schemas.microsoft.com/office/powerpoint/2010/main" val="376900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2"/>
          <p:cNvSpPr>
            <a:spLocks noGrp="1"/>
          </p:cNvSpPr>
          <p:nvPr>
            <p:ph sz="quarter" idx="16" hasCustomPrompt="1"/>
          </p:nvPr>
        </p:nvSpPr>
        <p:spPr bwMode="gray">
          <a:xfrm>
            <a:off x="656028" y="1426040"/>
            <a:ext cx="10205157" cy="4354117"/>
          </a:xfrm>
        </p:spPr>
        <p:txBody>
          <a:bodyPr numCol="1" spcCol="180000"/>
          <a:lstStyle>
            <a:lvl1pPr marL="432020" indent="-432020">
              <a:spcAft>
                <a:spcPts val="0"/>
              </a:spcAft>
              <a:buFont typeface="+mj-lt"/>
              <a:buAutoNum type="arabicPeriod"/>
              <a:defRPr/>
            </a:lvl1pPr>
            <a:lvl2pPr marL="861772" indent="-432020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  <a:defRPr/>
            </a:lvl2pPr>
            <a:lvl3pPr marL="657668">
              <a:spcBef>
                <a:spcPts val="0"/>
              </a:spcBef>
              <a:defRPr/>
            </a:lvl3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weitere</a:t>
            </a:r>
            <a:r>
              <a:rPr lang="en-US" noProof="0" dirty="0"/>
              <a:t> </a:t>
            </a:r>
            <a:r>
              <a:rPr lang="en-US" noProof="0" dirty="0" err="1"/>
              <a:t>Textstile</a:t>
            </a:r>
            <a:r>
              <a:rPr lang="en-US" noProof="0" dirty="0"/>
              <a:t> </a:t>
            </a:r>
            <a:r>
              <a:rPr lang="en-US" noProof="0" dirty="0" err="1"/>
              <a:t>über</a:t>
            </a:r>
            <a:r>
              <a:rPr lang="en-US" noProof="0" dirty="0"/>
              <a:t> </a:t>
            </a:r>
            <a:r>
              <a:rPr lang="en-US" noProof="0" dirty="0" err="1"/>
              <a:t>Listenebenen</a:t>
            </a:r>
            <a:r>
              <a:rPr lang="en-US" noProof="0" dirty="0"/>
              <a:t>)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781427BA-E5A5-714E-B5FF-5FB05CF5B5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30DF0F-B61C-7A45-9646-83A39D7B4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402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656028" y="1426040"/>
            <a:ext cx="10205157" cy="4354117"/>
          </a:xfrm>
        </p:spPr>
        <p:txBody>
          <a:bodyPr/>
          <a:lstStyle/>
          <a:p>
            <a:pPr lvl="0"/>
            <a:r>
              <a:rPr lang="en-US" noProof="0" dirty="0"/>
              <a:t>Text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weitere</a:t>
            </a:r>
            <a:r>
              <a:rPr lang="en-US" noProof="0" dirty="0"/>
              <a:t> </a:t>
            </a:r>
            <a:r>
              <a:rPr lang="en-US" noProof="0" dirty="0" err="1"/>
              <a:t>Textstile</a:t>
            </a:r>
            <a:r>
              <a:rPr lang="en-US" noProof="0" dirty="0"/>
              <a:t> </a:t>
            </a:r>
            <a:r>
              <a:rPr lang="en-US" noProof="0" dirty="0" err="1"/>
              <a:t>über</a:t>
            </a:r>
            <a:r>
              <a:rPr lang="en-US" noProof="0" dirty="0"/>
              <a:t> </a:t>
            </a:r>
            <a:r>
              <a:rPr lang="en-US" noProof="0" dirty="0" err="1"/>
              <a:t>Listenebenen</a:t>
            </a:r>
            <a:r>
              <a:rPr lang="en-US" noProof="0" dirty="0"/>
              <a:t>)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D7233AB2-B43E-3C4E-8B20-4386CE8255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0C0343E4-B0AA-6642-A3A8-56FDA16086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337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trenner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080243" y="3960090"/>
            <a:ext cx="6480000" cy="1080001"/>
          </a:xfrm>
        </p:spPr>
        <p:txBody>
          <a:bodyPr anchor="t"/>
          <a:lstStyle>
            <a:lvl1pPr marL="514350" indent="-514350" algn="l">
              <a:lnSpc>
                <a:spcPts val="3780"/>
              </a:lnSpc>
              <a:buFont typeface="+mj-lt"/>
              <a:buAutoNum type="arabicPeriod"/>
              <a:defRPr sz="3200" b="0" cap="all" spc="76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Kapiteltrenner</a:t>
            </a:r>
            <a:r>
              <a:rPr lang="en-US" noProof="0" dirty="0"/>
              <a:t> (max. </a:t>
            </a:r>
            <a:r>
              <a:rPr lang="en-US" noProof="0" dirty="0" err="1"/>
              <a:t>zweizeilig</a:t>
            </a:r>
            <a:r>
              <a:rPr lang="en-US" noProof="0" dirty="0"/>
              <a:t>) – 32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20244" y="5040088"/>
            <a:ext cx="5940001" cy="553134"/>
          </a:xfrm>
        </p:spPr>
        <p:txBody>
          <a:bodyPr lIns="0" tIns="0" bIns="0" anchor="ctr" anchorCtr="0"/>
          <a:lstStyle>
            <a:lvl1pPr marL="0" indent="0">
              <a:spcBef>
                <a:spcPts val="0"/>
              </a:spcBef>
              <a:buNone/>
              <a:defRPr sz="2000" b="1" cap="all" spc="127" baseline="0">
                <a:solidFill>
                  <a:schemeClr val="bg1"/>
                </a:solidFill>
              </a:defRPr>
            </a:lvl1pPr>
            <a:lvl2pPr marL="576002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2pPr>
            <a:lvl3pPr marL="1152005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3pPr>
            <a:lvl4pPr marL="172800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30400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88000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45601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403201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6080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Formatvorlagen des Textmasters </a:t>
            </a:r>
            <a:br>
              <a:rPr lang="de-DE" noProof="0" dirty="0"/>
            </a:br>
            <a:r>
              <a:rPr lang="de-DE" noProof="0" dirty="0"/>
              <a:t>bearbeiten – 20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pic>
        <p:nvPicPr>
          <p:cNvPr id="6" name="Picture 130" descr="Z:\Kunden\GTAI\_Stammdaten\GTAI_Logo_Farbverlaeufe_CMYK.png">
            <a:extLst>
              <a:ext uri="{FF2B5EF4-FFF2-40B4-BE49-F238E27FC236}">
                <a16:creationId xmlns:a16="http://schemas.microsoft.com/office/drawing/2014/main" id="{22CCED50-3A3A-C742-93AE-ED4E8FDF79F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60244" y="254502"/>
            <a:ext cx="2340000" cy="391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4807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656028" y="1426040"/>
            <a:ext cx="10205157" cy="3968726"/>
          </a:xfrm>
        </p:spPr>
        <p:txBody>
          <a:bodyPr/>
          <a:lstStyle/>
          <a:p>
            <a:pPr lvl="0"/>
            <a:r>
              <a:rPr lang="en-US" noProof="0" dirty="0"/>
              <a:t>Text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weitere</a:t>
            </a:r>
            <a:r>
              <a:rPr lang="en-US" noProof="0" dirty="0"/>
              <a:t> </a:t>
            </a:r>
            <a:r>
              <a:rPr lang="en-US" noProof="0" dirty="0" err="1"/>
              <a:t>Textstile</a:t>
            </a:r>
            <a:r>
              <a:rPr lang="en-US" noProof="0" dirty="0"/>
              <a:t> </a:t>
            </a:r>
            <a:r>
              <a:rPr lang="en-US" noProof="0" dirty="0" err="1"/>
              <a:t>über</a:t>
            </a:r>
            <a:r>
              <a:rPr lang="en-US" noProof="0" dirty="0"/>
              <a:t> </a:t>
            </a:r>
            <a:r>
              <a:rPr lang="en-US" noProof="0" dirty="0" err="1"/>
              <a:t>Listenebenen</a:t>
            </a:r>
            <a:r>
              <a:rPr lang="en-US" noProof="0" dirty="0"/>
              <a:t>)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7304" y="5525149"/>
            <a:ext cx="10205157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DB6C1B14-BD59-BF45-AB80-4FEA5F725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B845C99-FF35-7846-9734-3E0F63354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122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ohne Quellenanga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6" hasCustomPrompt="1"/>
          </p:nvPr>
        </p:nvSpPr>
        <p:spPr bwMode="gray">
          <a:xfrm>
            <a:off x="656033" y="1426040"/>
            <a:ext cx="4990212" cy="4354117"/>
          </a:xfrm>
        </p:spPr>
        <p:txBody>
          <a:bodyPr/>
          <a:lstStyle/>
          <a:p>
            <a:pPr lvl="0"/>
            <a:r>
              <a:rPr lang="en-US" noProof="0"/>
              <a:t>Text eingeben (weitere Textstile über Listenebenen)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7" hasCustomPrompt="1"/>
          </p:nvPr>
        </p:nvSpPr>
        <p:spPr bwMode="gray">
          <a:xfrm>
            <a:off x="5874249" y="1426040"/>
            <a:ext cx="4990211" cy="4354117"/>
          </a:xfrm>
        </p:spPr>
        <p:txBody>
          <a:bodyPr/>
          <a:lstStyle/>
          <a:p>
            <a:pPr lvl="0"/>
            <a:r>
              <a:rPr lang="en-US" noProof="0" dirty="0"/>
              <a:t>Text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weitere</a:t>
            </a:r>
            <a:r>
              <a:rPr lang="en-US" noProof="0" dirty="0"/>
              <a:t> </a:t>
            </a:r>
            <a:r>
              <a:rPr lang="en-US" noProof="0" dirty="0" err="1"/>
              <a:t>Textstile</a:t>
            </a:r>
            <a:r>
              <a:rPr lang="en-US" noProof="0" dirty="0"/>
              <a:t> </a:t>
            </a:r>
            <a:r>
              <a:rPr lang="en-US" noProof="0" dirty="0" err="1"/>
              <a:t>über</a:t>
            </a:r>
            <a:r>
              <a:rPr lang="en-US" noProof="0" dirty="0"/>
              <a:t> </a:t>
            </a:r>
            <a:r>
              <a:rPr lang="en-US" noProof="0" dirty="0" err="1"/>
              <a:t>Listenebenen</a:t>
            </a:r>
            <a:r>
              <a:rPr lang="en-US" noProof="0" dirty="0"/>
              <a:t>)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BB9C4656-8C7D-A44C-9416-5CFABEFA96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0F1C053-1ED8-2442-8BC1-005889B8D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035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Quellenanga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6" hasCustomPrompt="1"/>
          </p:nvPr>
        </p:nvSpPr>
        <p:spPr bwMode="gray">
          <a:xfrm>
            <a:off x="657670" y="1426040"/>
            <a:ext cx="4990212" cy="3968725"/>
          </a:xfrm>
        </p:spPr>
        <p:txBody>
          <a:bodyPr/>
          <a:lstStyle/>
          <a:p>
            <a:pPr lvl="0"/>
            <a:r>
              <a:rPr lang="en-US" noProof="0"/>
              <a:t>Text eingeben (weitere Textstile über Listenebenen)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7" hasCustomPrompt="1"/>
          </p:nvPr>
        </p:nvSpPr>
        <p:spPr bwMode="gray">
          <a:xfrm>
            <a:off x="5874249" y="1426040"/>
            <a:ext cx="4990211" cy="3968725"/>
          </a:xfrm>
        </p:spPr>
        <p:txBody>
          <a:bodyPr/>
          <a:lstStyle/>
          <a:p>
            <a:pPr lvl="0"/>
            <a:r>
              <a:rPr lang="en-US" noProof="0" dirty="0"/>
              <a:t>Text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weitere</a:t>
            </a:r>
            <a:r>
              <a:rPr lang="en-US" noProof="0" dirty="0"/>
              <a:t> </a:t>
            </a:r>
            <a:r>
              <a:rPr lang="en-US" noProof="0" dirty="0" err="1"/>
              <a:t>Textstile</a:t>
            </a:r>
            <a:r>
              <a:rPr lang="en-US" noProof="0" dirty="0"/>
              <a:t> </a:t>
            </a:r>
            <a:r>
              <a:rPr lang="en-US" noProof="0" dirty="0" err="1"/>
              <a:t>über</a:t>
            </a:r>
            <a:r>
              <a:rPr lang="en-US" noProof="0" dirty="0"/>
              <a:t> </a:t>
            </a:r>
            <a:r>
              <a:rPr lang="en-US" noProof="0" dirty="0" err="1"/>
              <a:t>Listenebenen</a:t>
            </a:r>
            <a:r>
              <a:rPr lang="en-US" noProof="0" dirty="0"/>
              <a:t>)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74249" y="5502771"/>
            <a:ext cx="4990211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7666" y="5502771"/>
            <a:ext cx="4990211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CC5F0123-10E4-2646-A015-7CA0DC67F1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0328420E-C829-DF49-93B6-73BD279EE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827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iagramm mit Quellenanga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6"/>
          </p:nvPr>
        </p:nvSpPr>
        <p:spPr bwMode="gray">
          <a:xfrm>
            <a:off x="657666" y="2446260"/>
            <a:ext cx="4990211" cy="2948504"/>
          </a:xfr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7666" y="5525149"/>
            <a:ext cx="4990211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12" name="Inhaltsplatzhalter 3"/>
          <p:cNvSpPr>
            <a:spLocks noGrp="1"/>
          </p:cNvSpPr>
          <p:nvPr>
            <p:ph sz="quarter" idx="11" hasCustomPrompt="1"/>
          </p:nvPr>
        </p:nvSpPr>
        <p:spPr bwMode="gray">
          <a:xfrm>
            <a:off x="5873645" y="1426040"/>
            <a:ext cx="4990212" cy="3968725"/>
          </a:xfrm>
        </p:spPr>
        <p:txBody>
          <a:bodyPr/>
          <a:lstStyle/>
          <a:p>
            <a:pPr lvl="0"/>
            <a:r>
              <a:rPr lang="en-US" noProof="0" dirty="0"/>
              <a:t>Text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weitere</a:t>
            </a:r>
            <a:r>
              <a:rPr lang="en-US" noProof="0" dirty="0"/>
              <a:t> </a:t>
            </a:r>
            <a:r>
              <a:rPr lang="en-US" noProof="0" dirty="0" err="1"/>
              <a:t>Textstile</a:t>
            </a:r>
            <a:r>
              <a:rPr lang="en-US" noProof="0" dirty="0"/>
              <a:t> </a:t>
            </a:r>
            <a:r>
              <a:rPr lang="en-US" noProof="0" dirty="0" err="1"/>
              <a:t>über</a:t>
            </a:r>
            <a:r>
              <a:rPr lang="en-US" noProof="0" dirty="0"/>
              <a:t> </a:t>
            </a:r>
            <a:r>
              <a:rPr lang="en-US" noProof="0" dirty="0" err="1"/>
              <a:t>Listenebenen</a:t>
            </a:r>
            <a:r>
              <a:rPr lang="en-US" noProof="0" dirty="0"/>
              <a:t>)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873635" y="5525149"/>
            <a:ext cx="4990211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56028" y="1426039"/>
            <a:ext cx="4990211" cy="936025"/>
          </a:xfrm>
          <a:blipFill dpi="0" rotWithShape="1">
            <a:blip r:embed="rId2"/>
            <a:srcRect/>
            <a:tile tx="0" ty="50800" sx="100000" sy="100000" flip="none" algn="b"/>
          </a:blipFill>
        </p:spPr>
        <p:txBody>
          <a:bodyPr tIns="43200"/>
          <a:lstStyle>
            <a:lvl1pPr>
              <a:spcBef>
                <a:spcPts val="0"/>
              </a:spcBef>
              <a:spcAft>
                <a:spcPts val="0"/>
              </a:spcAft>
              <a:defRPr sz="189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38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en-US" noProof="0" dirty="0" err="1"/>
              <a:t>Diagrammüberschrift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Unterüberschrift</a:t>
            </a:r>
            <a:r>
              <a:rPr lang="en-US" noProof="0" dirty="0"/>
              <a:t> </a:t>
            </a:r>
            <a:r>
              <a:rPr lang="en-US" noProof="0" dirty="0" err="1"/>
              <a:t>Listenebene</a:t>
            </a:r>
            <a:r>
              <a:rPr lang="en-US" noProof="0" dirty="0"/>
              <a:t> 2)</a:t>
            </a:r>
          </a:p>
          <a:p>
            <a:pPr lvl="1"/>
            <a:r>
              <a:rPr lang="en-US" noProof="0" dirty="0" err="1"/>
              <a:t>Unterüberschrift</a:t>
            </a:r>
            <a:endParaRPr lang="en-US" noProof="0" dirty="0"/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3EB11C20-1976-FC48-89FE-EFE3BE1F92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2B52575E-646B-2848-A290-4FBAA511F2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202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56028" y="1426039"/>
            <a:ext cx="4990211" cy="936025"/>
          </a:xfrm>
          <a:blipFill dpi="0" rotWithShape="1">
            <a:blip r:embed="rId2"/>
            <a:srcRect/>
            <a:tile tx="0" ty="50800" sx="100000" sy="100000" flip="none" algn="b"/>
          </a:blipFill>
        </p:spPr>
        <p:txBody>
          <a:bodyPr tIns="43200"/>
          <a:lstStyle>
            <a:lvl1pPr>
              <a:spcBef>
                <a:spcPts val="0"/>
              </a:spcBef>
              <a:spcAft>
                <a:spcPts val="0"/>
              </a:spcAft>
              <a:defRPr sz="189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38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en-US" noProof="0" dirty="0" err="1"/>
              <a:t>Diagrammüberschrift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Unterüberschrift</a:t>
            </a:r>
            <a:r>
              <a:rPr lang="en-US" noProof="0" dirty="0"/>
              <a:t> </a:t>
            </a:r>
            <a:r>
              <a:rPr lang="en-US" noProof="0" dirty="0" err="1"/>
              <a:t>Listenebene</a:t>
            </a:r>
            <a:r>
              <a:rPr lang="en-US" noProof="0" dirty="0"/>
              <a:t> 2)</a:t>
            </a:r>
          </a:p>
          <a:p>
            <a:pPr lvl="1"/>
            <a:r>
              <a:rPr lang="en-US" noProof="0" dirty="0" err="1"/>
              <a:t>Unterüberschrift</a:t>
            </a:r>
            <a:endParaRPr lang="en-US" noProof="0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874249" y="1426039"/>
            <a:ext cx="4990211" cy="936025"/>
          </a:xfrm>
          <a:blipFill dpi="0" rotWithShape="1">
            <a:blip r:embed="rId2"/>
            <a:srcRect/>
            <a:tile tx="0" ty="50800" sx="100000" sy="100000" flip="none" algn="b"/>
          </a:blipFill>
        </p:spPr>
        <p:txBody>
          <a:bodyPr tIns="43200"/>
          <a:lstStyle>
            <a:lvl1pPr>
              <a:spcBef>
                <a:spcPts val="0"/>
              </a:spcBef>
              <a:spcAft>
                <a:spcPts val="0"/>
              </a:spcAft>
              <a:defRPr sz="189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38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en-US" noProof="0" dirty="0" err="1"/>
              <a:t>Diagrammüberschrift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Unterüberschrift</a:t>
            </a:r>
            <a:r>
              <a:rPr lang="en-US" noProof="0" dirty="0"/>
              <a:t> </a:t>
            </a:r>
            <a:r>
              <a:rPr lang="en-US" noProof="0" dirty="0" err="1"/>
              <a:t>Listenebene</a:t>
            </a:r>
            <a:r>
              <a:rPr lang="en-US" noProof="0" dirty="0"/>
              <a:t> 2)</a:t>
            </a:r>
          </a:p>
          <a:p>
            <a:pPr lvl="1"/>
            <a:r>
              <a:rPr lang="en-US" noProof="0" dirty="0" err="1"/>
              <a:t>Unterüberschrift</a:t>
            </a:r>
            <a:endParaRPr lang="en-US" noProof="0" dirty="0"/>
          </a:p>
        </p:txBody>
      </p:sp>
      <p:sp>
        <p:nvSpPr>
          <p:cNvPr id="11" name="Diagrammplatzhalter 9"/>
          <p:cNvSpPr>
            <a:spLocks noGrp="1"/>
          </p:cNvSpPr>
          <p:nvPr>
            <p:ph type="chart" sz="quarter" idx="18"/>
          </p:nvPr>
        </p:nvSpPr>
        <p:spPr bwMode="gray">
          <a:xfrm>
            <a:off x="5874249" y="2559665"/>
            <a:ext cx="4990211" cy="2835100"/>
          </a:xfr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6033" y="5525149"/>
            <a:ext cx="4990212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874253" y="5525149"/>
            <a:ext cx="4990212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14" name="Diagrammplatzhalter 9"/>
          <p:cNvSpPr>
            <a:spLocks noGrp="1"/>
          </p:cNvSpPr>
          <p:nvPr>
            <p:ph type="chart" sz="quarter" idx="16"/>
          </p:nvPr>
        </p:nvSpPr>
        <p:spPr bwMode="gray">
          <a:xfrm>
            <a:off x="657666" y="2559664"/>
            <a:ext cx="4990211" cy="2835100"/>
          </a:xfr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/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45F90F67-1B1A-654F-9E26-5C58AF8C26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0E3A982D-05C1-7E46-B1C4-E63F191948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175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Diagram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56028" y="1426041"/>
            <a:ext cx="10205157" cy="936025"/>
          </a:xfrm>
          <a:blipFill dpi="0" rotWithShape="1">
            <a:blip r:embed="rId2"/>
            <a:srcRect/>
            <a:tile tx="0" ty="50800" sx="100000" sy="100000" flip="none" algn="b"/>
          </a:blipFill>
        </p:spPr>
        <p:txBody>
          <a:bodyPr tIns="43200"/>
          <a:lstStyle>
            <a:lvl1pPr>
              <a:spcBef>
                <a:spcPts val="0"/>
              </a:spcBef>
              <a:spcAft>
                <a:spcPts val="0"/>
              </a:spcAft>
              <a:defRPr sz="189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38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en-US" noProof="0" dirty="0" err="1"/>
              <a:t>Diagrammüberschrift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(</a:t>
            </a:r>
            <a:r>
              <a:rPr lang="en-US" noProof="0" dirty="0" err="1"/>
              <a:t>Unterüberschrift</a:t>
            </a:r>
            <a:r>
              <a:rPr lang="en-US" noProof="0" dirty="0"/>
              <a:t> </a:t>
            </a:r>
            <a:r>
              <a:rPr lang="en-US" noProof="0" dirty="0" err="1"/>
              <a:t>Listenebene</a:t>
            </a:r>
            <a:r>
              <a:rPr lang="en-US" noProof="0" dirty="0"/>
              <a:t> 2)</a:t>
            </a:r>
          </a:p>
          <a:p>
            <a:pPr lvl="1"/>
            <a:r>
              <a:rPr lang="en-US" noProof="0" dirty="0" err="1"/>
              <a:t>Unterüberschrift</a:t>
            </a:r>
            <a:endParaRPr lang="en-US" noProof="0" dirty="0"/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6"/>
          </p:nvPr>
        </p:nvSpPr>
        <p:spPr bwMode="gray">
          <a:xfrm>
            <a:off x="656028" y="2559664"/>
            <a:ext cx="10205157" cy="2835100"/>
          </a:xfrm>
        </p:spPr>
        <p:txBody>
          <a:bodyPr anchor="ctr"/>
          <a:lstStyle>
            <a:lvl1pPr algn="ctr">
              <a:spcBef>
                <a:spcPts val="0"/>
              </a:spcBef>
              <a:defRPr/>
            </a:lvl1pPr>
          </a:lstStyle>
          <a:p>
            <a:r>
              <a:rPr lang="de-DE" noProof="0"/>
              <a:t>Diagramm durch Klicken auf Symbol hinzufügen</a:t>
            </a:r>
            <a:endParaRPr lang="en-US" noProof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6026" y="5525149"/>
            <a:ext cx="10205157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C2BD23E7-5EC2-F44C-9FE8-38C96AC384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5EC8AFF7-70E6-9147-AB91-39A26A41C8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604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ellenplatzhalter 5"/>
          <p:cNvSpPr>
            <a:spLocks noGrp="1"/>
          </p:cNvSpPr>
          <p:nvPr>
            <p:ph type="tbl" sz="quarter" idx="16"/>
          </p:nvPr>
        </p:nvSpPr>
        <p:spPr bwMode="gray">
          <a:xfrm>
            <a:off x="656028" y="1426039"/>
            <a:ext cx="10205157" cy="3968725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noProof="0"/>
              <a:t>Tabelle durch Klicken auf Symbol hinzufügen</a:t>
            </a:r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6028" y="5525149"/>
            <a:ext cx="10205157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7076C354-31B1-154D-9B2F-3DEDEC1B3D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5B90FA4-54F4-614F-AD73-00364AD9F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527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Message und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6028" y="5525149"/>
            <a:ext cx="10205157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53698908-D455-6C4B-ADF0-6E130DF308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8FB0ABA-71C2-3F46-B8F6-A44D670095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0394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6028" y="5525149"/>
            <a:ext cx="10205157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1134" b="0" i="1" baseline="0"/>
            </a:lvl1pPr>
          </a:lstStyle>
          <a:p>
            <a:pPr lvl="0"/>
            <a:r>
              <a:rPr lang="en-US" noProof="0"/>
              <a:t>Quellenangabe eingeben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C039213-7EFF-934B-A015-F32BD9C5C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753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56028" y="603015"/>
            <a:ext cx="10205157" cy="510748"/>
          </a:xfrm>
          <a:prstGeom prst="rect">
            <a:avLst/>
          </a:prstGeom>
        </p:spPr>
        <p:txBody>
          <a:bodyPr tIns="79200"/>
          <a:lstStyle>
            <a:lvl1pPr>
              <a:defRPr sz="189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Optionaler Titel zum Statemen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6028" y="1113767"/>
            <a:ext cx="10205157" cy="4666390"/>
          </a:xfrm>
        </p:spPr>
        <p:txBody>
          <a:bodyPr/>
          <a:lstStyle>
            <a:lvl1pPr>
              <a:defRPr sz="4536" b="1">
                <a:solidFill>
                  <a:schemeClr val="tx2"/>
                </a:solidFill>
                <a:latin typeface="+mj-lt"/>
              </a:defRPr>
            </a:lvl1pPr>
            <a:lvl2pPr marL="272138" indent="-272138">
              <a:defRPr/>
            </a:lvl2pPr>
            <a:lvl3pPr marL="544277" indent="-272138">
              <a:defRPr/>
            </a:lvl3pPr>
          </a:lstStyle>
          <a:p>
            <a:pPr lvl="0"/>
            <a:r>
              <a:rPr lang="en-US" noProof="0" dirty="0"/>
              <a:t>Statement </a:t>
            </a:r>
            <a:r>
              <a:rPr lang="en-US" noProof="0" dirty="0" err="1"/>
              <a:t>eingeb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453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71A3073A-B918-994F-AE8A-314EB4C13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960246" y="360089"/>
            <a:ext cx="7020493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BB2BAEA3-4ED2-5440-B371-4F4F8F318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960246" y="1440087"/>
            <a:ext cx="7020493" cy="720000"/>
          </a:xfrm>
        </p:spPr>
        <p:txBody>
          <a:bodyPr wrap="square" tIns="108000" bIns="0" anchor="t" anchorCtr="0"/>
          <a:lstStyle>
            <a:lvl1pPr>
              <a:lnSpc>
                <a:spcPct val="100000"/>
              </a:lnSpc>
              <a:defRPr sz="30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 err="1"/>
              <a:t>Folienunter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– Cambria, 3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2" y="0"/>
            <a:ext cx="3600244" cy="6480175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idx="1" hasCustomPrompt="1"/>
          </p:nvPr>
        </p:nvSpPr>
        <p:spPr bwMode="gray">
          <a:xfrm>
            <a:off x="3960246" y="2519363"/>
            <a:ext cx="7019998" cy="32398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 marL="557877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DA5BB280-4E5F-4647-B6EE-07DC189F5F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960247" y="5759451"/>
            <a:ext cx="7020492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71760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1" userDrawn="1">
          <p15:clr>
            <a:srgbClr val="FBAE40"/>
          </p15:clr>
        </p15:guide>
        <p15:guide id="2" orient="horz" pos="1587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eltrenner">
    <p:bg bwMode="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224014" y="4081917"/>
            <a:ext cx="6350722" cy="1020636"/>
          </a:xfrm>
          <a:prstGeom prst="rect">
            <a:avLst/>
          </a:prstGeom>
        </p:spPr>
        <p:txBody>
          <a:bodyPr anchor="t"/>
          <a:lstStyle>
            <a:lvl1pPr marL="566955" indent="-566955" algn="l">
              <a:lnSpc>
                <a:spcPts val="3780"/>
              </a:lnSpc>
              <a:buFont typeface="+mj-lt"/>
              <a:buNone/>
              <a:defRPr sz="3150" b="0" cap="all" spc="76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1.	</a:t>
            </a:r>
            <a:r>
              <a:rPr lang="en-US" noProof="0" dirty="0" err="1"/>
              <a:t>Kapiteltrenner</a:t>
            </a:r>
            <a:r>
              <a:rPr lang="en-US" noProof="0" dirty="0"/>
              <a:t> (max. </a:t>
            </a:r>
            <a:r>
              <a:rPr lang="en-US" noProof="0" dirty="0" err="1"/>
              <a:t>zweizeilig</a:t>
            </a:r>
            <a:r>
              <a:rPr lang="en-US" noProof="0" dirty="0"/>
              <a:t>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1043" y="5167956"/>
            <a:ext cx="5783693" cy="42526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90" b="1" cap="all" spc="126" baseline="0">
                <a:solidFill>
                  <a:schemeClr val="bg1"/>
                </a:solidFill>
              </a:defRPr>
            </a:lvl1pPr>
            <a:lvl2pPr marL="576026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2pPr>
            <a:lvl3pPr marL="1152053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3pPr>
            <a:lvl4pPr marL="172807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30410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88013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4561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4032184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60821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pic>
        <p:nvPicPr>
          <p:cNvPr id="7" name="Picture 130" descr="Z:\Kunden\GTAI\_Stammdaten\GTAI_Logo_Farbverlaeufe_CMYK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2360" y="291584"/>
            <a:ext cx="2381143" cy="397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334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E6B06006-23D5-8C4D-83FF-416E9E3F06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1F9342B4-B61A-3747-9CA5-E91D1049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0322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201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430022" y="5961163"/>
            <a:ext cx="2836120" cy="3408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1422" tIns="136067" rIns="181422" bIns="13606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99" noProof="0">
              <a:solidFill>
                <a:schemeClr val="tx1"/>
              </a:solidFill>
            </a:endParaRP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1"/>
          </p:nvPr>
        </p:nvSpPr>
        <p:spPr bwMode="gray">
          <a:xfrm>
            <a:off x="656028" y="3582098"/>
            <a:ext cx="10205157" cy="2198059"/>
          </a:xfrm>
          <a:noFill/>
        </p:spPr>
        <p:txBody>
          <a:bodyPr bIns="32400" anchor="b"/>
          <a:lstStyle>
            <a:lvl2pPr marL="0" indent="0">
              <a:spcAft>
                <a:spcPts val="0"/>
              </a:spcAft>
              <a:buNone/>
              <a:defRPr sz="1890" b="1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tabLst>
                <a:tab pos="340173" algn="l"/>
              </a:tabLst>
              <a:defRPr sz="1890" b="1"/>
            </a:lvl3pPr>
            <a:lvl4pPr>
              <a:spcBef>
                <a:spcPts val="0"/>
              </a:spcBef>
              <a:defRPr sz="1890" b="0" cap="none" baseline="0"/>
            </a:lvl4pPr>
            <a:lvl5pPr>
              <a:defRPr sz="1197" i="0"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6028" y="1426039"/>
            <a:ext cx="10205157" cy="2156059"/>
          </a:xfrm>
        </p:spPr>
        <p:txBody>
          <a:bodyPr/>
          <a:lstStyle>
            <a:lvl1pPr>
              <a:tabLst>
                <a:tab pos="340173" algn="l"/>
                <a:tab pos="3174948" algn="l"/>
                <a:tab pos="3515121" algn="l"/>
                <a:tab pos="6349896" algn="l"/>
                <a:tab pos="6690069" algn="l"/>
              </a:tabLst>
              <a:defRPr/>
            </a:lvl1pPr>
            <a:lvl2pPr marL="0" indent="0">
              <a:spcAft>
                <a:spcPts val="0"/>
              </a:spcAft>
              <a:buNone/>
              <a:tabLst>
                <a:tab pos="340173" algn="l"/>
                <a:tab pos="3174948" algn="l"/>
                <a:tab pos="3515121" algn="l"/>
                <a:tab pos="6349896" algn="l"/>
                <a:tab pos="6690069" algn="l"/>
              </a:tabLst>
              <a:defRPr sz="1890" b="1">
                <a:solidFill>
                  <a:schemeClr val="tx2"/>
                </a:solidFill>
              </a:defRPr>
            </a:lvl2pPr>
            <a:lvl3pPr marL="0" indent="0">
              <a:spcAft>
                <a:spcPts val="0"/>
              </a:spcAft>
              <a:buNone/>
              <a:tabLst>
                <a:tab pos="340173" algn="l"/>
                <a:tab pos="3174948" algn="l"/>
                <a:tab pos="3515121" algn="l"/>
                <a:tab pos="6349896" algn="l"/>
                <a:tab pos="6690069" algn="l"/>
              </a:tabLst>
              <a:defRPr sz="1890" b="1"/>
            </a:lvl3pPr>
            <a:lvl4pPr>
              <a:spcBef>
                <a:spcPts val="0"/>
              </a:spcBef>
              <a:tabLst>
                <a:tab pos="340173" algn="l"/>
                <a:tab pos="3174948" algn="l"/>
                <a:tab pos="3515121" algn="l"/>
                <a:tab pos="6349896" algn="l"/>
                <a:tab pos="6690069" algn="l"/>
              </a:tabLst>
              <a:defRPr sz="1890" b="0" cap="none" baseline="0"/>
            </a:lvl4pPr>
            <a:lvl5pPr>
              <a:tabLst>
                <a:tab pos="340173" algn="l"/>
                <a:tab pos="3174948" algn="l"/>
                <a:tab pos="3515121" algn="l"/>
                <a:tab pos="6349896" algn="l"/>
                <a:tab pos="6690069" algn="l"/>
              </a:tabLst>
              <a:defRPr sz="1197" i="0"/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D9CD7121-8BD4-1B4B-9C4A-1B819578D8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FF017C4-4891-3748-9701-3A3E62505F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675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656028" y="316583"/>
            <a:ext cx="10208432" cy="59551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5203" tIns="57602" rIns="115203" bIns="576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99" noProof="0"/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656034" y="1539046"/>
            <a:ext cx="2382102" cy="4241111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5203" tIns="57602" rIns="115203" bIns="576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99" noProof="0"/>
          </a:p>
        </p:txBody>
      </p:sp>
      <p:sp>
        <p:nvSpPr>
          <p:cNvPr id="6" name="Rechteck 5"/>
          <p:cNvSpPr/>
          <p:nvPr userDrawn="1"/>
        </p:nvSpPr>
        <p:spPr bwMode="gray">
          <a:xfrm>
            <a:off x="3266149" y="1539046"/>
            <a:ext cx="2382102" cy="4241111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5203" tIns="57602" rIns="115203" bIns="576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99" noProof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5872259" y="1539046"/>
            <a:ext cx="2382102" cy="4241111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5203" tIns="57602" rIns="115203" bIns="576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99" noProof="0"/>
          </a:p>
        </p:txBody>
      </p:sp>
      <p:sp>
        <p:nvSpPr>
          <p:cNvPr id="8" name="Rechteck 7"/>
          <p:cNvSpPr/>
          <p:nvPr userDrawn="1"/>
        </p:nvSpPr>
        <p:spPr bwMode="gray">
          <a:xfrm>
            <a:off x="8482369" y="1539046"/>
            <a:ext cx="2382102" cy="4241111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5203" tIns="57602" rIns="115203" bIns="576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99" noProof="0"/>
          </a:p>
        </p:txBody>
      </p:sp>
      <p:sp>
        <p:nvSpPr>
          <p:cNvPr id="9" name="Rechteck 8"/>
          <p:cNvSpPr/>
          <p:nvPr userDrawn="1"/>
        </p:nvSpPr>
        <p:spPr bwMode="gray">
          <a:xfrm>
            <a:off x="430023" y="308104"/>
            <a:ext cx="10660452" cy="5472053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5203" tIns="57602" rIns="115203" bIns="5760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99" noProof="0"/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430023" y="704352"/>
            <a:ext cx="10660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>
            <a:off x="430023" y="2134558"/>
            <a:ext cx="10660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>
            <a:off x="430023" y="3240088"/>
            <a:ext cx="10660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>
            <a:off x="430023" y="4345618"/>
            <a:ext cx="10660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>
            <a:off x="430023" y="5454206"/>
            <a:ext cx="10660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/>
          <p:cNvSpPr>
            <a:spLocks noGrp="1"/>
          </p:cNvSpPr>
          <p:nvPr>
            <p:ph sz="quarter" idx="16"/>
          </p:nvPr>
        </p:nvSpPr>
        <p:spPr bwMode="gray"/>
        <p:txBody>
          <a:bodyPr/>
          <a:lstStyle/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430023" y="1539041"/>
            <a:ext cx="106604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46CCD7F2-F58C-9841-8805-B7A780AFF7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850432"/>
            <a:ext cx="10205157" cy="453556"/>
          </a:xfrm>
        </p:spPr>
        <p:txBody>
          <a:bodyPr/>
          <a:lstStyle>
            <a:lvl1pPr>
              <a:defRPr sz="264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Messag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8B797934-B11A-2742-9A82-EB3AEC6158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6028" y="283488"/>
            <a:ext cx="10205157" cy="566944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370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56028" y="210903"/>
            <a:ext cx="10205157" cy="42526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Folientitel eingeben</a:t>
            </a:r>
            <a:endParaRPr lang="en-US" noProof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6028" y="636112"/>
            <a:ext cx="10205157" cy="340509"/>
          </a:xfrm>
        </p:spPr>
        <p:txBody>
          <a:bodyPr/>
          <a:lstStyle>
            <a:lvl1pPr>
              <a:defRPr sz="1984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Message</a:t>
            </a:r>
            <a:endParaRPr lang="en-US" noProof="0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6"/>
          </p:nvPr>
        </p:nvSpPr>
        <p:spPr bwMode="gray">
          <a:xfrm>
            <a:off x="656028" y="1539040"/>
            <a:ext cx="10205157" cy="4116017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en-US" noProof="0" smtClean="0"/>
              <a:t>Tabelle durch Klicken auf Symbol hinzufügen</a:t>
            </a:r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6028" y="5738612"/>
            <a:ext cx="10205157" cy="255007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850" b="0" i="1" baseline="0"/>
            </a:lvl1pPr>
          </a:lstStyle>
          <a:p>
            <a:pPr lvl="0"/>
            <a:r>
              <a:rPr lang="en-US" noProof="0" smtClean="0"/>
              <a:t>Quellenangabe eingeben</a:t>
            </a:r>
          </a:p>
        </p:txBody>
      </p:sp>
    </p:spTree>
    <p:extLst>
      <p:ext uri="{BB962C8B-B14F-4D97-AF65-F5344CB8AC3E}">
        <p14:creationId xmlns:p14="http://schemas.microsoft.com/office/powerpoint/2010/main" val="16936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4E9B5E8A-A01E-0D44-B3F2-DEC82A52D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47119" y="1440087"/>
            <a:ext cx="10433619" cy="720000"/>
          </a:xfrm>
        </p:spPr>
        <p:txBody>
          <a:bodyPr wrap="square" tIns="108000" bIns="0" anchor="t" anchorCtr="0"/>
          <a:lstStyle>
            <a:lvl1pPr>
              <a:lnSpc>
                <a:spcPct val="100000"/>
              </a:lnSpc>
              <a:defRPr sz="30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 err="1"/>
              <a:t>Folienunter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– Cambria, 3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7AA257D9-0489-B34C-BACA-8246955EB6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5642" y="5759450"/>
            <a:ext cx="10445096" cy="360363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898E80BD-44DD-2542-AC66-8AAB7DB40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244" y="360089"/>
            <a:ext cx="10440495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</p:spTree>
    <p:extLst>
      <p:ext uri="{BB962C8B-B14F-4D97-AF65-F5344CB8AC3E}">
        <p14:creationId xmlns:p14="http://schemas.microsoft.com/office/powerpoint/2010/main" val="2209295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1">
          <p15:clr>
            <a:srgbClr val="FBAE40"/>
          </p15:clr>
        </p15:guide>
        <p15:guide id="2" orient="horz" pos="158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_Grau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7DB10058-2A51-D844-ACC8-3381BA88318D}"/>
              </a:ext>
            </a:extLst>
          </p:cNvPr>
          <p:cNvSpPr/>
          <p:nvPr userDrawn="1"/>
        </p:nvSpPr>
        <p:spPr>
          <a:xfrm>
            <a:off x="0" y="1798532"/>
            <a:ext cx="11520649" cy="46877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de-DE" sz="8000" dirty="0">
              <a:solidFill>
                <a:schemeClr val="tx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C9C2B1-54E5-4945-B3F4-201F385B3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1" y="360089"/>
            <a:ext cx="10440988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9D6DB48F-6EC2-C643-BDE8-9676D78ED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5642" y="5759450"/>
            <a:ext cx="10445096" cy="360363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3634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>
          <p15:clr>
            <a:srgbClr val="FBAE40"/>
          </p15:clr>
        </p15:guide>
        <p15:guide id="2" orient="horz" pos="113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C9C2B1-54E5-4945-B3F4-201F385B3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1" y="360089"/>
            <a:ext cx="10440988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9D6DB48F-6EC2-C643-BDE8-9676D78ED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5642" y="5759450"/>
            <a:ext cx="10445096" cy="360363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37732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07">
          <p15:clr>
            <a:srgbClr val="FBAE40"/>
          </p15:clr>
        </p15:guide>
        <p15:guide id="2" orient="horz" pos="113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FFC330F7-D867-4247-ABCE-48B628FDB5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20246" y="0"/>
            <a:ext cx="3600244" cy="6480175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CAAE5E98-B4BA-CA40-AFDE-61F37A1EA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60089"/>
            <a:ext cx="7020493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228D519A-1904-E14F-80B3-B52DED43BC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752" y="5759451"/>
            <a:ext cx="7020492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AB3719B-6FFC-2048-8957-9E5B3F871D9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40244" y="1800225"/>
            <a:ext cx="7019998" cy="3959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 marL="557877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02635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>
          <p15:clr>
            <a:srgbClr val="FBAE40"/>
          </p15:clr>
        </p15:guide>
        <p15:guide id="2" orient="horz" pos="113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2" y="0"/>
            <a:ext cx="3600244" cy="6480175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1A3073A-B918-994F-AE8A-314EB4C13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960246" y="360089"/>
            <a:ext cx="7020493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705E99A1-E126-3649-8624-6A44747D75F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960247" y="5759451"/>
            <a:ext cx="7020492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01E1B1F7-33F9-964F-B7B8-6497B3AD0378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3960246" y="1800225"/>
            <a:ext cx="7019998" cy="39590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 marL="557877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8390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 userDrawn="1">
          <p15:clr>
            <a:srgbClr val="FBAE40"/>
          </p15:clr>
        </p15:guide>
        <p15:guide id="2" orient="horz" pos="1134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m Conclu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E004CF23-7CAE-3048-8897-351C0CB04F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752" y="5759451"/>
            <a:ext cx="6120492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CD5031B-E23C-AC49-A8E7-32386698865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 bwMode="gray">
          <a:xfrm>
            <a:off x="539431" y="1800815"/>
            <a:ext cx="6120813" cy="395863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B7B825D-7EC7-4A43-86E4-C98AE375A7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20244" y="1800089"/>
            <a:ext cx="3960813" cy="3959225"/>
          </a:xfrm>
          <a:gradFill>
            <a:gsLst>
              <a:gs pos="5000">
                <a:srgbClr val="0059A3">
                  <a:lumMod val="90000"/>
                  <a:lumOff val="10000"/>
                </a:srgbClr>
              </a:gs>
              <a:gs pos="30000">
                <a:srgbClr val="008BD2"/>
              </a:gs>
              <a:gs pos="85000">
                <a:srgbClr val="5BC5F2"/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0" tIns="540000" rIns="540000" bIns="54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b="1" kern="1200" dirty="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 lvl="0" defTabSz="1151849" fontAlgn="base">
              <a:lnSpc>
                <a:spcPct val="100000"/>
              </a:lnSpc>
              <a:spcBef>
                <a:spcPct val="0"/>
              </a:spcBef>
            </a:pPr>
            <a:r>
              <a:rPr lang="de-DE" sz="2400" b="1" kern="1200" dirty="0" err="1">
                <a:solidFill>
                  <a:schemeClr val="bg1"/>
                </a:solidFill>
                <a:cs typeface="Arial" pitchFamily="34" charset="0"/>
              </a:rPr>
              <a:t>Konlusion</a:t>
            </a:r>
            <a:r>
              <a:rPr lang="de-DE" sz="2400" b="1" kern="1200" dirty="0">
                <a:solidFill>
                  <a:schemeClr val="bg1"/>
                </a:solidFill>
                <a:cs typeface="Arial" pitchFamily="34" charset="0"/>
              </a:rPr>
              <a:t>-Box für das Fazit einer Folie eingeben.</a:t>
            </a:r>
            <a:br>
              <a:rPr lang="de-DE" sz="2400" b="1" kern="1200" dirty="0">
                <a:solidFill>
                  <a:schemeClr val="bg1"/>
                </a:solidFill>
                <a:cs typeface="Arial" pitchFamily="34" charset="0"/>
              </a:rPr>
            </a:br>
            <a:r>
              <a:rPr lang="de-DE" sz="2400" b="1" kern="1200" dirty="0">
                <a:solidFill>
                  <a:schemeClr val="bg1"/>
                </a:solidFill>
                <a:cs typeface="Arial" pitchFamily="34" charset="0"/>
              </a:rPr>
              <a:t>– Calibri, 24pt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862006B1-CED8-6F43-804D-5C2BA4483E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244" y="360089"/>
            <a:ext cx="10440495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</p:spTree>
    <p:extLst>
      <p:ext uri="{BB962C8B-B14F-4D97-AF65-F5344CB8AC3E}">
        <p14:creationId xmlns:p14="http://schemas.microsoft.com/office/powerpoint/2010/main" val="720890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>
          <p15:clr>
            <a:srgbClr val="FBAE40"/>
          </p15:clr>
        </p15:guide>
        <p15:guide id="2" orient="horz" pos="113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Fakten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platzhalter 14">
            <a:extLst>
              <a:ext uri="{FF2B5EF4-FFF2-40B4-BE49-F238E27FC236}">
                <a16:creationId xmlns:a16="http://schemas.microsoft.com/office/drawing/2014/main" id="{59C82A60-7F1E-3D4B-ABC9-8588EC1E7E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803343"/>
            <a:ext cx="5040494" cy="3090511"/>
          </a:xfrm>
          <a:solidFill>
            <a:schemeClr val="bg1">
              <a:lumMod val="95000"/>
            </a:schemeClr>
          </a:solidFill>
          <a:ln w="9525">
            <a:noFill/>
          </a:ln>
        </p:spPr>
        <p:txBody>
          <a:bodyPr lIns="360000" tIns="288000" rIns="360000" bIns="360000" anchor="t" anchorCtr="0"/>
          <a:lstStyle>
            <a:lvl1pPr>
              <a:defRPr lang="de-DE" sz="2400" b="1" smtClean="0">
                <a:solidFill>
                  <a:schemeClr val="tx1"/>
                </a:solidFill>
              </a:defRPr>
            </a:lvl1pPr>
            <a:lvl2pPr>
              <a:defRPr lang="de-DE" sz="2142" smtClean="0"/>
            </a:lvl2pPr>
            <a:lvl3pPr>
              <a:defRPr lang="de-DE" sz="1890" smtClean="0"/>
            </a:lvl3pPr>
            <a:lvl4pPr>
              <a:defRPr lang="de-DE" sz="1890" b="0" cap="none" smtClean="0"/>
            </a:lvl4pPr>
            <a:lvl5pPr>
              <a:defRPr lang="de-DE" sz="1638" i="0"/>
            </a:lvl5pPr>
          </a:lstStyle>
          <a:p>
            <a:pPr lvl="0"/>
            <a:r>
              <a:rPr lang="de-DE" dirty="0"/>
              <a:t>Titel (Calibri 24 </a:t>
            </a:r>
            <a:r>
              <a:rPr lang="de-DE" dirty="0" err="1"/>
              <a:t>pt</a:t>
            </a:r>
            <a:r>
              <a:rPr lang="de-DE" dirty="0"/>
              <a:t>)</a:t>
            </a:r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73521B93-DBCD-5C4D-B0C8-E7DF866983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3382" y="2665010"/>
            <a:ext cx="4336861" cy="183507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 </a:t>
            </a:r>
            <a:br>
              <a:rPr lang="de-DE" dirty="0"/>
            </a:br>
            <a:r>
              <a:rPr lang="de-DE" dirty="0"/>
              <a:t>– Calibri, 18-20pt</a:t>
            </a:r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99200902-7B52-0A42-A7F4-A4DD63B625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3877" y="1803343"/>
            <a:ext cx="5056861" cy="3090511"/>
          </a:xfrm>
          <a:solidFill>
            <a:schemeClr val="bg1">
              <a:lumMod val="95000"/>
            </a:schemeClr>
          </a:solidFill>
          <a:ln w="9525">
            <a:noFill/>
          </a:ln>
        </p:spPr>
        <p:txBody>
          <a:bodyPr lIns="360000" tIns="288000" rIns="360000" bIns="360000" anchor="t" anchorCtr="0"/>
          <a:lstStyle>
            <a:lvl1pPr>
              <a:defRPr lang="de-DE" sz="2400" b="1" smtClean="0">
                <a:solidFill>
                  <a:schemeClr val="tx1"/>
                </a:solidFill>
              </a:defRPr>
            </a:lvl1pPr>
            <a:lvl2pPr>
              <a:defRPr lang="de-DE" sz="2142" smtClean="0"/>
            </a:lvl2pPr>
            <a:lvl3pPr>
              <a:defRPr lang="de-DE" sz="1890" smtClean="0"/>
            </a:lvl3pPr>
            <a:lvl4pPr>
              <a:defRPr lang="de-DE" sz="1890" b="0" cap="none" smtClean="0"/>
            </a:lvl4pPr>
            <a:lvl5pPr>
              <a:defRPr lang="de-DE" sz="1638" i="0"/>
            </a:lvl5pPr>
          </a:lstStyle>
          <a:p>
            <a:pPr lvl="0"/>
            <a:r>
              <a:rPr lang="de-DE" dirty="0"/>
              <a:t>Titel (Calibri 24 </a:t>
            </a:r>
            <a:r>
              <a:rPr lang="de-DE" dirty="0" err="1"/>
              <a:t>pt</a:t>
            </a:r>
            <a:r>
              <a:rPr lang="de-DE" dirty="0"/>
              <a:t>)</a:t>
            </a:r>
          </a:p>
        </p:txBody>
      </p:sp>
      <p:sp>
        <p:nvSpPr>
          <p:cNvPr id="34" name="Textplatzhalter 16">
            <a:extLst>
              <a:ext uri="{FF2B5EF4-FFF2-40B4-BE49-F238E27FC236}">
                <a16:creationId xmlns:a16="http://schemas.microsoft.com/office/drawing/2014/main" id="{A5F25B0D-A78A-7D4E-91DD-45A6254408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0244" y="2665009"/>
            <a:ext cx="4355789" cy="1835079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 </a:t>
            </a:r>
            <a:br>
              <a:rPr lang="de-DE" dirty="0"/>
            </a:br>
            <a:r>
              <a:rPr lang="de-DE" dirty="0"/>
              <a:t>– Calibri, 18-20pt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BBA69E99-C3CF-E646-815C-E5F987CBC0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244" y="360089"/>
            <a:ext cx="10440495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F2AF4F4-40C3-B34F-BB81-623C414F36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220087"/>
            <a:ext cx="10440988" cy="908849"/>
          </a:xfrm>
          <a:gradFill flip="none" rotWithShape="1">
            <a:gsLst>
              <a:gs pos="0">
                <a:srgbClr val="006CC6"/>
              </a:gs>
              <a:gs pos="5000">
                <a:srgbClr val="006CC6"/>
              </a:gs>
              <a:gs pos="30000">
                <a:srgbClr val="008BD2"/>
              </a:gs>
              <a:gs pos="100000">
                <a:srgbClr val="5BC5F2"/>
              </a:gs>
            </a:gsLst>
            <a:lin ang="19200000" scaled="0"/>
            <a:tileRect/>
          </a:gradFill>
          <a:ln w="9525">
            <a:noFill/>
          </a:ln>
        </p:spPr>
        <p:txBody>
          <a:bodyPr lIns="360000" tIns="360000" rIns="360000" bIns="360000" anchor="ctr" anchorCtr="0"/>
          <a:lstStyle>
            <a:lvl1pPr>
              <a:defRPr lang="de-DE" sz="2000" b="1" smtClean="0">
                <a:solidFill>
                  <a:schemeClr val="bg1"/>
                </a:solidFill>
              </a:defRPr>
            </a:lvl1pPr>
            <a:lvl2pPr>
              <a:defRPr lang="de-DE" sz="2142" smtClean="0"/>
            </a:lvl2pPr>
            <a:lvl3pPr>
              <a:defRPr lang="de-DE" sz="1890" smtClean="0"/>
            </a:lvl3pPr>
            <a:lvl4pPr>
              <a:defRPr lang="de-DE" sz="1890" b="0" cap="none" smtClean="0"/>
            </a:lvl4pPr>
            <a:lvl5pPr>
              <a:defRPr lang="de-DE" sz="1638" i="0"/>
            </a:lvl5pPr>
          </a:lstStyle>
          <a:p>
            <a:pPr lvl="0" defTabSz="1151849">
              <a:spcBef>
                <a:spcPts val="0"/>
              </a:spcBef>
            </a:pPr>
            <a:r>
              <a:rPr lang="de-DE" dirty="0"/>
              <a:t>Mastertextformat bearbeiten – Calibri, 20 </a:t>
            </a:r>
            <a:r>
              <a:rPr lang="de-DE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4436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">
          <p15:clr>
            <a:srgbClr val="FBAE40"/>
          </p15:clr>
        </p15:guide>
        <p15:guide id="2" orient="horz" pos="90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00E1247-7413-BC4E-B009-D67CBAAF5B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20246" y="0"/>
            <a:ext cx="3600244" cy="6480175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 marL="0" marR="0" indent="0" algn="l" defTabSz="1152005" rtl="0" eaLnBrk="1" fontAlgn="auto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ECCE77DC-8E16-B849-AD6E-E423F12E8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1" y="360089"/>
            <a:ext cx="7020493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9A28EA0E-162D-BD48-8129-C804E2CC89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1" y="1438776"/>
            <a:ext cx="7020493" cy="720000"/>
          </a:xfrm>
        </p:spPr>
        <p:txBody>
          <a:bodyPr wrap="square" tIns="108000" bIns="0" anchor="t" anchorCtr="0"/>
          <a:lstStyle>
            <a:lvl1pPr>
              <a:lnSpc>
                <a:spcPct val="100000"/>
              </a:lnSpc>
              <a:defRPr sz="30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 err="1"/>
              <a:t>Folienunter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– Cambria, 3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8E4AB5B9-0F1F-7642-84C2-1CABA2312D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751" y="5759451"/>
            <a:ext cx="7020493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85603DFB-B0CD-C545-ABFB-F297AD0700B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40244" y="2517463"/>
            <a:ext cx="7019998" cy="32419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 marL="557877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8717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1" userDrawn="1">
          <p15:clr>
            <a:srgbClr val="FBAE40"/>
          </p15:clr>
        </p15:guide>
        <p15:guide id="2" orient="horz" pos="158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FFC330F7-D867-4247-ABCE-48B628FDB52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20246" y="0"/>
            <a:ext cx="3600244" cy="6480175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CAAE5E98-B4BA-CA40-AFDE-61F37A1EA9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9750" y="360089"/>
            <a:ext cx="7020493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r>
              <a:rPr lang="en-US" noProof="0" dirty="0"/>
              <a:t>, bold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228D519A-1904-E14F-80B3-B52DED43BC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752" y="5759451"/>
            <a:ext cx="7020492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AB3719B-6FFC-2048-8957-9E5B3F871D9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40244" y="1800225"/>
            <a:ext cx="7019998" cy="3959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 marL="557877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7071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 userDrawn="1">
          <p15:clr>
            <a:srgbClr val="FBAE40"/>
          </p15:clr>
        </p15:guide>
        <p15:guide id="2" orient="horz" pos="113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hal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8744CFA8-CB79-8643-983C-385E8584C60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5" y="-1"/>
            <a:ext cx="5580244" cy="6480000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2EEC7F5D-D118-E247-A69F-E85D3144F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924362" y="360089"/>
            <a:ext cx="5040492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D510C070-34A2-4A40-A846-D270ECB22B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924362" y="1438775"/>
            <a:ext cx="5040492" cy="1078687"/>
          </a:xfrm>
        </p:spPr>
        <p:txBody>
          <a:bodyPr wrap="square" tIns="108000" bIns="0" anchor="t" anchorCtr="0"/>
          <a:lstStyle>
            <a:lvl1pPr>
              <a:lnSpc>
                <a:spcPct val="100000"/>
              </a:lnSpc>
              <a:defRPr sz="30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 err="1"/>
              <a:t>Folienunter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– Cambria, 3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A27D9DB6-1D9E-D040-8E04-856641220D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924362" y="5759451"/>
            <a:ext cx="5040492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A0896FE-B120-9744-8C18-F3ADF4C63874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924361" y="2879725"/>
            <a:ext cx="5058591" cy="2879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 marL="557877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2263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7" userDrawn="1">
          <p15:clr>
            <a:srgbClr val="FBAE40"/>
          </p15:clr>
        </p15:guide>
        <p15:guide id="2" orient="horz" pos="18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31F239D0-52DD-B24D-AFEE-37FE185BA1C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5" y="-1"/>
            <a:ext cx="5580244" cy="6480000"/>
          </a:xfrm>
          <a:solidFill>
            <a:schemeClr val="bg1">
              <a:lumMod val="95000"/>
            </a:schemeClr>
          </a:solidFill>
        </p:spPr>
        <p:txBody>
          <a:bodyPr lIns="360000" tIns="360000" rIns="360000" bIns="360000" anchor="t" anchorCtr="0"/>
          <a:lstStyle>
            <a:lvl1pPr>
              <a:defRPr sz="2000" baseline="0">
                <a:solidFill>
                  <a:schemeClr val="accent6"/>
                </a:solidFill>
              </a:defRPr>
            </a:lvl1pPr>
          </a:lstStyle>
          <a:p>
            <a:r>
              <a:rPr lang="de-DE" dirty="0"/>
              <a:t>Durch klicken auf das Symbol das Farbbild aus der </a:t>
            </a:r>
            <a:r>
              <a:rPr lang="de-DE" dirty="0" err="1"/>
              <a:t>Meebox</a:t>
            </a:r>
            <a:r>
              <a:rPr lang="de-DE" dirty="0"/>
              <a:t> einfügen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F2237D9-A1F2-684F-9DF3-78EDDCE73F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924362" y="360089"/>
            <a:ext cx="5040492" cy="1078687"/>
          </a:xfrm>
        </p:spPr>
        <p:txBody>
          <a:bodyPr anchor="b" anchorCtr="0"/>
          <a:lstStyle>
            <a:lvl1pPr>
              <a:lnSpc>
                <a:spcPts val="4000"/>
              </a:lnSpc>
              <a:defRPr sz="4000"/>
            </a:lvl1pPr>
          </a:lstStyle>
          <a:p>
            <a:r>
              <a:rPr lang="en-US" noProof="0" dirty="0" err="1"/>
              <a:t>Folientitel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– Cambria, 4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0BF981-3C6E-6541-B3C8-6815A69C89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939506" y="5759451"/>
            <a:ext cx="5040738" cy="361588"/>
          </a:xfrm>
        </p:spPr>
        <p:txBody>
          <a:bodyPr anchor="ctr" anchorCtr="0"/>
          <a:lstStyle>
            <a:lvl1pPr>
              <a:spcBef>
                <a:spcPts val="0"/>
              </a:spcBef>
              <a:spcAft>
                <a:spcPts val="0"/>
              </a:spcAft>
              <a:defRPr sz="1300" b="0" i="1" baseline="0"/>
            </a:lvl1pPr>
          </a:lstStyle>
          <a:p>
            <a:pPr lvl="0"/>
            <a:r>
              <a:rPr lang="en-US" noProof="0" dirty="0" err="1"/>
              <a:t>Quellenangabe</a:t>
            </a:r>
            <a:r>
              <a:rPr lang="en-US" noProof="0" dirty="0"/>
              <a:t> </a:t>
            </a:r>
            <a:r>
              <a:rPr lang="en-US" noProof="0" dirty="0" err="1"/>
              <a:t>eingeben</a:t>
            </a:r>
            <a:endParaRPr lang="en-US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AC092E5C-D750-344F-B86A-E3F94D8F77C9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924361" y="1800225"/>
            <a:ext cx="5058591" cy="3959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 marL="557877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lvl3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–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– 16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2351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7" userDrawn="1">
          <p15:clr>
            <a:srgbClr val="FBAE40"/>
          </p15:clr>
        </p15:guide>
        <p15:guide id="2" orient="horz" pos="113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vmlDrawing" Target="../drawings/vmlDrawing2.vml"/><Relationship Id="rId30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878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Folie" r:id="rId30" imgW="493" imgH="493" progId="TCLayout.ActiveDocument.1">
                  <p:embed/>
                </p:oleObj>
              </mc:Choice>
              <mc:Fallback>
                <p:oleObj name="think-cell Folie" r:id="rId30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39753" y="360057"/>
            <a:ext cx="10440492" cy="107919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39753" y="1800090"/>
            <a:ext cx="10440491" cy="39591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 24p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r>
              <a:rPr lang="en-US" noProof="0" dirty="0"/>
              <a:t> 16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9360244" y="5759253"/>
            <a:ext cx="1620496" cy="360837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151849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300" b="1" dirty="0">
                <a:solidFill>
                  <a:schemeClr val="tx2"/>
                </a:solidFill>
              </a:rPr>
              <a:t> </a:t>
            </a:r>
            <a:r>
              <a:rPr lang="de-DE" sz="1300" kern="600" baseline="0" dirty="0">
                <a:solidFill>
                  <a:schemeClr val="tx1"/>
                </a:solidFill>
              </a:rPr>
              <a:t>© GTAI  </a:t>
            </a:r>
            <a:fld id="{0197D564-FF6C-46AC-AA12-0524CE2986D2}" type="slidenum">
              <a:rPr lang="de-DE" sz="1300" b="1" smtClean="0">
                <a:solidFill>
                  <a:schemeClr val="tx2"/>
                </a:solidFill>
              </a:rPr>
              <a:pPr algn="r"/>
              <a:t>‹Nr.›</a:t>
            </a:fld>
            <a:endParaRPr lang="de-DE" sz="13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610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7" r:id="rId2"/>
    <p:sldLayoutId id="2147483651" r:id="rId3"/>
    <p:sldLayoutId id="2147483682" r:id="rId4"/>
    <p:sldLayoutId id="2147483663" r:id="rId5"/>
    <p:sldLayoutId id="2147483650" r:id="rId6"/>
    <p:sldLayoutId id="2147483683" r:id="rId7"/>
    <p:sldLayoutId id="2147483686" r:id="rId8"/>
    <p:sldLayoutId id="2147483665" r:id="rId9"/>
    <p:sldLayoutId id="2147483662" r:id="rId10"/>
    <p:sldLayoutId id="2147483688" r:id="rId11"/>
    <p:sldLayoutId id="2147483659" r:id="rId12"/>
    <p:sldLayoutId id="2147483654" r:id="rId13"/>
    <p:sldLayoutId id="2147483655" r:id="rId14"/>
    <p:sldLayoutId id="2147483679" r:id="rId15"/>
    <p:sldLayoutId id="2147483667" r:id="rId16"/>
    <p:sldLayoutId id="2147483668" r:id="rId17"/>
    <p:sldLayoutId id="2147483691" r:id="rId18"/>
    <p:sldLayoutId id="2147483673" r:id="rId19"/>
    <p:sldLayoutId id="2147483689" r:id="rId20"/>
    <p:sldLayoutId id="2147483690" r:id="rId21"/>
    <p:sldLayoutId id="2147483672" r:id="rId22"/>
    <p:sldLayoutId id="2147483675" r:id="rId23"/>
    <p:sldLayoutId id="2147483676" r:id="rId24"/>
    <p:sldLayoutId id="2147483664" r:id="rId25"/>
    <p:sldLayoutId id="2147483721" r:id="rId26"/>
  </p:sldLayoutIdLst>
  <p:hf sldNum="0" hdr="0" ftr="0" dt="0"/>
  <p:txStyles>
    <p:titleStyle>
      <a:lvl1pPr algn="l" defTabSz="1152005" rtl="0" eaLnBrk="1" latinLnBrk="0" hangingPunct="1">
        <a:lnSpc>
          <a:spcPts val="4000"/>
        </a:lnSpc>
        <a:spcBef>
          <a:spcPct val="0"/>
        </a:spcBef>
        <a:buNone/>
        <a:defRPr sz="4000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152005" rtl="0" eaLnBrk="1" latinLnBrk="0" hangingPunct="1">
        <a:lnSpc>
          <a:spcPct val="107000"/>
        </a:lnSpc>
        <a:spcBef>
          <a:spcPts val="756"/>
        </a:spcBef>
        <a:spcAft>
          <a:spcPts val="0"/>
        </a:spcAft>
        <a:buFont typeface="Arial" panose="020B0604020202020204" pitchFamily="34" charset="0"/>
        <a:buNone/>
        <a:defRPr sz="2400" kern="6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342900" algn="l" defTabSz="1152005" rtl="0" eaLnBrk="1" latinLnBrk="0" hangingPunct="1">
        <a:lnSpc>
          <a:spcPct val="107000"/>
        </a:lnSpc>
        <a:spcBef>
          <a:spcPts val="756"/>
        </a:spcBef>
        <a:spcAft>
          <a:spcPts val="0"/>
        </a:spcAft>
        <a:buFont typeface="Arial" panose="020B0604020202020204" pitchFamily="34" charset="0"/>
        <a:buChar char="•"/>
        <a:defRPr sz="1999" kern="600" baseline="0">
          <a:solidFill>
            <a:schemeClr val="tx1"/>
          </a:solidFill>
          <a:latin typeface="+mn-lt"/>
          <a:ea typeface="+mn-ea"/>
          <a:cs typeface="+mn-cs"/>
        </a:defRPr>
      </a:lvl2pPr>
      <a:lvl3pPr marL="557877" indent="-285750" algn="l" defTabSz="1152005" rtl="0" eaLnBrk="1" latinLnBrk="0" hangingPunct="1">
        <a:lnSpc>
          <a:spcPct val="107000"/>
        </a:lnSpc>
        <a:spcBef>
          <a:spcPts val="504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600" kern="6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152005" rtl="0" eaLnBrk="1" latinLnBrk="0" hangingPunct="1">
        <a:lnSpc>
          <a:spcPct val="107000"/>
        </a:lnSpc>
        <a:spcBef>
          <a:spcPts val="2520"/>
        </a:spcBef>
        <a:buFont typeface="Arial" panose="020B0604020202020204" pitchFamily="34" charset="0"/>
        <a:buNone/>
        <a:defRPr sz="1999" b="1" kern="600" cap="all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152005" rtl="0" eaLnBrk="1" latinLnBrk="0" hangingPunct="1">
        <a:lnSpc>
          <a:spcPct val="107000"/>
        </a:lnSpc>
        <a:spcBef>
          <a:spcPts val="0"/>
        </a:spcBef>
        <a:buFont typeface="Arial" panose="020B0604020202020204" pitchFamily="34" charset="0"/>
        <a:buNone/>
        <a:defRPr sz="1135" b="0" i="1" kern="6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152005" rtl="0" eaLnBrk="1" latinLnBrk="0" hangingPunct="1">
        <a:spcBef>
          <a:spcPts val="0"/>
        </a:spcBef>
        <a:buFont typeface="Arial" panose="020B0604020202020204" pitchFamily="34" charset="0"/>
        <a:buNone/>
        <a:defRPr sz="1891" b="1" kern="6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1152005" rtl="0" eaLnBrk="1" latinLnBrk="0" hangingPunct="1">
        <a:spcBef>
          <a:spcPts val="0"/>
        </a:spcBef>
        <a:buFont typeface="Arial" panose="020B0604020202020204" pitchFamily="34" charset="0"/>
        <a:buNone/>
        <a:defRPr sz="1637" kern="600">
          <a:solidFill>
            <a:schemeClr val="tx2"/>
          </a:solidFill>
          <a:latin typeface="+mj-lt"/>
          <a:ea typeface="+mn-ea"/>
          <a:cs typeface="+mn-cs"/>
        </a:defRPr>
      </a:lvl7pPr>
      <a:lvl8pPr marL="4320014" indent="-288001" algn="l" defTabSz="1152005" rtl="0" eaLnBrk="1" latinLnBrk="0" hangingPunct="1">
        <a:spcBef>
          <a:spcPct val="200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4896015" indent="-288001" algn="l" defTabSz="1152005" rtl="0" eaLnBrk="1" latinLnBrk="0" hangingPunct="1">
        <a:spcBef>
          <a:spcPct val="200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1152005" rtl="0" eaLnBrk="1" latinLnBrk="0" hangingPunct="1">
        <a:lnSpc>
          <a:spcPct val="110000"/>
        </a:lnSpc>
        <a:buClr>
          <a:schemeClr val="tx1"/>
        </a:buClr>
        <a:buSzPct val="100000"/>
        <a:buFont typeface="Arial" pitchFamily="34" charset="0"/>
        <a:buNone/>
        <a:defRPr sz="1512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1pPr>
      <a:lvl2pPr marL="181419" indent="-181419" algn="l" defTabSz="1152005" rtl="0" eaLnBrk="1" latinLnBrk="0" hangingPunct="1">
        <a:lnSpc>
          <a:spcPct val="110000"/>
        </a:lnSpc>
        <a:buClr>
          <a:schemeClr val="tx1"/>
        </a:buClr>
        <a:buSzPct val="100000"/>
        <a:buFont typeface="Calibri" panose="020F0502020204030204" pitchFamily="34" charset="0"/>
        <a:buChar char="•"/>
        <a:defRPr sz="1512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2pPr>
      <a:lvl3pPr marL="181419" indent="-181419" algn="l" defTabSz="1152005" rtl="0" eaLnBrk="1" latinLnBrk="0" hangingPunct="1">
        <a:lnSpc>
          <a:spcPct val="110000"/>
        </a:lnSpc>
        <a:buClr>
          <a:schemeClr val="tx1"/>
        </a:buClr>
        <a:buSzPct val="100000"/>
        <a:buFont typeface="Calibri" panose="020F0502020204030204" pitchFamily="34" charset="0"/>
        <a:buChar char="•"/>
        <a:defRPr sz="1135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3pPr>
      <a:lvl4pPr marL="181419" indent="-181419" algn="l" defTabSz="1152005" rtl="0" eaLnBrk="1" latinLnBrk="0" hangingPunct="1">
        <a:lnSpc>
          <a:spcPct val="110000"/>
        </a:lnSpc>
        <a:buClr>
          <a:schemeClr val="tx1"/>
        </a:buClr>
        <a:buSzPct val="100000"/>
        <a:buFont typeface="Calibri" panose="020F0502020204030204" pitchFamily="34" charset="0"/>
        <a:buChar char="•"/>
        <a:defRPr sz="1135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4pPr>
      <a:lvl5pPr marL="0" indent="0" algn="l" defTabSz="1152005" rtl="0" eaLnBrk="1" latinLnBrk="0" hangingPunct="1">
        <a:lnSpc>
          <a:spcPct val="110000"/>
        </a:lnSpc>
        <a:buClr>
          <a:schemeClr val="tx1"/>
        </a:buClr>
        <a:buSzPct val="100000"/>
        <a:buFont typeface="Arial" pitchFamily="34" charset="0"/>
        <a:buNone/>
        <a:defRPr sz="1135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5pPr>
      <a:lvl6pPr marL="2880009" algn="l" defTabSz="1152005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6pPr>
      <a:lvl7pPr marL="3456012" algn="l" defTabSz="1152005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7pPr>
      <a:lvl8pPr marL="4032013" algn="l" defTabSz="1152005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8pPr>
      <a:lvl9pPr marL="4608015" algn="l" defTabSz="1152005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4" pos="340" userDrawn="1">
          <p15:clr>
            <a:srgbClr val="F26B43"/>
          </p15:clr>
        </p15:guide>
        <p15:guide id="15" pos="6917" userDrawn="1">
          <p15:clr>
            <a:srgbClr val="F26B43"/>
          </p15:clr>
        </p15:guide>
        <p15:guide id="17" orient="horz" pos="3628" userDrawn="1">
          <p15:clr>
            <a:srgbClr val="F26B43"/>
          </p15:clr>
        </p15:guide>
        <p15:guide id="18" orient="horz" pos="340" userDrawn="1">
          <p15:clr>
            <a:srgbClr val="F26B43"/>
          </p15:clr>
        </p15:guide>
        <p15:guide id="19" orient="horz" pos="227" userDrawn="1">
          <p15:clr>
            <a:srgbClr val="F26B43"/>
          </p15:clr>
        </p15:guide>
        <p15:guide id="20" pos="227" userDrawn="1">
          <p15:clr>
            <a:srgbClr val="F26B43"/>
          </p15:clr>
        </p15:guide>
        <p15:guide id="21" orient="horz" pos="3855" userDrawn="1">
          <p15:clr>
            <a:srgbClr val="F26B43"/>
          </p15:clr>
        </p15:guide>
        <p15:guide id="22" pos="703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/>
          </p:nvPr>
        </p:nvGraphicFramePr>
        <p:xfrm>
          <a:off x="2001" y="2001"/>
          <a:ext cx="2001" cy="20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Folie" r:id="rId29" imgW="344" imgH="345" progId="TCLayout.ActiveDocument.1">
                  <p:embed/>
                </p:oleObj>
              </mc:Choice>
              <mc:Fallback>
                <p:oleObj name="think-cell Folie" r:id="rId29" imgW="344" imgH="34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001" y="2001"/>
                        <a:ext cx="2001" cy="20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6028" y="1539046"/>
            <a:ext cx="10205157" cy="42411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7" name="Textfeld 6"/>
          <p:cNvSpPr txBox="1"/>
          <p:nvPr/>
        </p:nvSpPr>
        <p:spPr bwMode="gray">
          <a:xfrm>
            <a:off x="7744799" y="5780156"/>
            <a:ext cx="2778486" cy="438011"/>
          </a:xfrm>
          <a:prstGeom prst="rect">
            <a:avLst/>
          </a:prstGeom>
          <a:noFill/>
        </p:spPr>
        <p:txBody>
          <a:bodyPr wrap="none" lIns="0" tIns="136067" rIns="0" bIns="0" rtlCol="0" anchor="t">
            <a:noAutofit/>
          </a:bodyPr>
          <a:lstStyle/>
          <a:p>
            <a:pPr algn="r"/>
            <a:r>
              <a:rPr lang="de-DE" sz="1071" u="none" kern="600" baseline="0" dirty="0"/>
              <a:t>www.gtai.de</a:t>
            </a:r>
          </a:p>
        </p:txBody>
      </p:sp>
      <p:sp>
        <p:nvSpPr>
          <p:cNvPr id="8" name="Rechteck 7"/>
          <p:cNvSpPr/>
          <p:nvPr/>
        </p:nvSpPr>
        <p:spPr bwMode="gray">
          <a:xfrm>
            <a:off x="10523285" y="5780156"/>
            <a:ext cx="341175" cy="438011"/>
          </a:xfrm>
          <a:prstGeom prst="rect">
            <a:avLst/>
          </a:prstGeom>
        </p:spPr>
        <p:txBody>
          <a:bodyPr wrap="none" lIns="0" tIns="108853" rIns="0" bIns="0">
            <a:noAutofit/>
          </a:bodyPr>
          <a:lstStyle/>
          <a:p>
            <a:pPr algn="r"/>
            <a:fld id="{0197D564-FF6C-46AC-AA12-0524CE2986D2}" type="slidenum">
              <a:rPr lang="de-DE" sz="1323" b="1" smtClean="0">
                <a:solidFill>
                  <a:schemeClr val="tx2"/>
                </a:solidFill>
              </a:rPr>
              <a:pPr algn="r"/>
              <a:t>‹Nr.›</a:t>
            </a:fld>
            <a:endParaRPr lang="de-DE" sz="1323" b="1" dirty="0">
              <a:solidFill>
                <a:schemeClr val="tx2"/>
              </a:solidFill>
            </a:endParaRPr>
          </a:p>
        </p:txBody>
      </p:sp>
      <p:sp>
        <p:nvSpPr>
          <p:cNvPr id="9" name="Textfeld 8"/>
          <p:cNvSpPr txBox="1"/>
          <p:nvPr/>
        </p:nvSpPr>
        <p:spPr bwMode="gray">
          <a:xfrm>
            <a:off x="656026" y="5780156"/>
            <a:ext cx="2382103" cy="438011"/>
          </a:xfrm>
          <a:prstGeom prst="rect">
            <a:avLst/>
          </a:prstGeom>
          <a:noFill/>
        </p:spPr>
        <p:txBody>
          <a:bodyPr wrap="none" lIns="0" tIns="136067" rIns="0" bIns="0" rtlCol="0" anchor="t">
            <a:noAutofit/>
          </a:bodyPr>
          <a:lstStyle/>
          <a:p>
            <a:r>
              <a:rPr lang="de-DE" sz="1071" kern="600" baseline="0" dirty="0">
                <a:solidFill>
                  <a:schemeClr val="tx2"/>
                </a:solidFill>
              </a:rPr>
              <a:t>© Germany Trade &amp; </a:t>
            </a:r>
            <a:r>
              <a:rPr lang="de-DE" sz="1071" kern="600" baseline="0" dirty="0" err="1">
                <a:solidFill>
                  <a:schemeClr val="tx2"/>
                </a:solidFill>
              </a:rPr>
              <a:t>Invest</a:t>
            </a:r>
            <a:endParaRPr lang="de-DE" sz="1071" kern="600" baseline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14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1152053" rtl="0" eaLnBrk="1" latinLnBrk="0" hangingPunct="1">
        <a:spcBef>
          <a:spcPct val="0"/>
        </a:spcBef>
        <a:buNone/>
        <a:defRPr sz="3528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152053" rtl="0" eaLnBrk="1" latinLnBrk="0" hangingPunct="1">
        <a:lnSpc>
          <a:spcPct val="107000"/>
        </a:lnSpc>
        <a:spcBef>
          <a:spcPts val="756"/>
        </a:spcBef>
        <a:spcAft>
          <a:spcPts val="0"/>
        </a:spcAft>
        <a:buFont typeface="Arial" panose="020B0604020202020204" pitchFamily="34" charset="0"/>
        <a:buNone/>
        <a:defRPr sz="2142" kern="600">
          <a:solidFill>
            <a:schemeClr val="tx1"/>
          </a:solidFill>
          <a:latin typeface="+mn-lt"/>
          <a:ea typeface="+mn-ea"/>
          <a:cs typeface="+mn-cs"/>
        </a:defRPr>
      </a:lvl1pPr>
      <a:lvl2pPr marL="272138" indent="-272138" algn="l" defTabSz="1152053" rtl="0" eaLnBrk="1" latinLnBrk="0" hangingPunct="1">
        <a:lnSpc>
          <a:spcPct val="107000"/>
        </a:lnSpc>
        <a:spcBef>
          <a:spcPts val="756"/>
        </a:spcBef>
        <a:spcAft>
          <a:spcPts val="0"/>
        </a:spcAft>
        <a:buFont typeface="Calibri" panose="020F0502020204030204" pitchFamily="34" charset="0"/>
        <a:buChar char="•"/>
        <a:defRPr sz="2142" kern="600">
          <a:solidFill>
            <a:schemeClr val="tx1"/>
          </a:solidFill>
          <a:latin typeface="+mn-lt"/>
          <a:ea typeface="+mn-ea"/>
          <a:cs typeface="+mn-cs"/>
        </a:defRPr>
      </a:lvl2pPr>
      <a:lvl3pPr marL="544277" indent="-272138" algn="l" defTabSz="1152053" rtl="0" eaLnBrk="1" latinLnBrk="0" hangingPunct="1">
        <a:lnSpc>
          <a:spcPct val="107000"/>
        </a:lnSpc>
        <a:spcBef>
          <a:spcPts val="504"/>
        </a:spcBef>
        <a:spcAft>
          <a:spcPts val="0"/>
        </a:spcAft>
        <a:buFont typeface="Calibri" panose="020F0502020204030204" pitchFamily="34" charset="0"/>
        <a:buChar char="–"/>
        <a:defRPr sz="2142" kern="6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152053" rtl="0" eaLnBrk="1" latinLnBrk="0" hangingPunct="1">
        <a:lnSpc>
          <a:spcPct val="107000"/>
        </a:lnSpc>
        <a:spcBef>
          <a:spcPts val="2520"/>
        </a:spcBef>
        <a:buFont typeface="Arial" panose="020B0604020202020204" pitchFamily="34" charset="0"/>
        <a:buNone/>
        <a:defRPr sz="2142" b="1" kern="600" cap="all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152053" rtl="0" eaLnBrk="1" latinLnBrk="0" hangingPunct="1">
        <a:lnSpc>
          <a:spcPct val="107000"/>
        </a:lnSpc>
        <a:spcBef>
          <a:spcPts val="0"/>
        </a:spcBef>
        <a:buFont typeface="Arial" panose="020B0604020202020204" pitchFamily="34" charset="0"/>
        <a:buNone/>
        <a:defRPr sz="1134" b="0" i="1" kern="6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152053" rtl="0" eaLnBrk="1" latinLnBrk="0" hangingPunct="1">
        <a:spcBef>
          <a:spcPts val="0"/>
        </a:spcBef>
        <a:buFont typeface="Arial" panose="020B0604020202020204" pitchFamily="34" charset="0"/>
        <a:buNone/>
        <a:defRPr sz="1890" b="1" kern="6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1152053" rtl="0" eaLnBrk="1" latinLnBrk="0" hangingPunct="1">
        <a:spcBef>
          <a:spcPts val="0"/>
        </a:spcBef>
        <a:buFont typeface="Arial" panose="020B0604020202020204" pitchFamily="34" charset="0"/>
        <a:buNone/>
        <a:defRPr sz="1638" kern="600">
          <a:solidFill>
            <a:schemeClr val="tx2"/>
          </a:solidFill>
          <a:latin typeface="+mj-lt"/>
          <a:ea typeface="+mn-ea"/>
          <a:cs typeface="+mn-cs"/>
        </a:defRPr>
      </a:lvl7pPr>
      <a:lvl8pPr marL="4320197" indent="-288013" algn="l" defTabSz="11520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4896223" indent="-288013" algn="l" defTabSz="11520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1152053" rtl="0" eaLnBrk="1" latinLnBrk="0" hangingPunct="1">
        <a:lnSpc>
          <a:spcPct val="110000"/>
        </a:lnSpc>
        <a:buClr>
          <a:schemeClr val="tx1"/>
        </a:buClr>
        <a:buSzPct val="100000"/>
        <a:buFont typeface="Arial" pitchFamily="34" charset="0"/>
        <a:buNone/>
        <a:defRPr sz="1512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1pPr>
      <a:lvl2pPr marL="181426" indent="-181426" algn="l" defTabSz="1152053" rtl="0" eaLnBrk="1" latinLnBrk="0" hangingPunct="1">
        <a:lnSpc>
          <a:spcPct val="110000"/>
        </a:lnSpc>
        <a:buClr>
          <a:schemeClr val="tx1"/>
        </a:buClr>
        <a:buSzPct val="100000"/>
        <a:buFont typeface="Calibri" panose="020F0502020204030204" pitchFamily="34" charset="0"/>
        <a:buChar char="•"/>
        <a:defRPr sz="1512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2pPr>
      <a:lvl3pPr marL="181426" indent="-181426" algn="l" defTabSz="1152053" rtl="0" eaLnBrk="1" latinLnBrk="0" hangingPunct="1">
        <a:lnSpc>
          <a:spcPct val="110000"/>
        </a:lnSpc>
        <a:buClr>
          <a:schemeClr val="tx1"/>
        </a:buClr>
        <a:buSzPct val="100000"/>
        <a:buFont typeface="Calibri" panose="020F0502020204030204" pitchFamily="34" charset="0"/>
        <a:buChar char="•"/>
        <a:defRPr sz="1134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3pPr>
      <a:lvl4pPr marL="181426" indent="-181426" algn="l" defTabSz="1152053" rtl="0" eaLnBrk="1" latinLnBrk="0" hangingPunct="1">
        <a:lnSpc>
          <a:spcPct val="110000"/>
        </a:lnSpc>
        <a:buClr>
          <a:schemeClr val="tx1"/>
        </a:buClr>
        <a:buSzPct val="100000"/>
        <a:buFont typeface="Calibri" panose="020F0502020204030204" pitchFamily="34" charset="0"/>
        <a:buChar char="•"/>
        <a:defRPr sz="1134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4pPr>
      <a:lvl5pPr marL="0" indent="0" algn="l" defTabSz="1152053" rtl="0" eaLnBrk="1" latinLnBrk="0" hangingPunct="1">
        <a:lnSpc>
          <a:spcPct val="110000"/>
        </a:lnSpc>
        <a:buClr>
          <a:schemeClr val="tx1"/>
        </a:buClr>
        <a:buSzPct val="100000"/>
        <a:buFont typeface="Arial" pitchFamily="34" charset="0"/>
        <a:buNone/>
        <a:defRPr sz="1134" b="0" i="0" u="none" kern="1200" cap="none">
          <a:solidFill>
            <a:schemeClr val="tx1"/>
          </a:solidFill>
          <a:uFill>
            <a:solidFill>
              <a:schemeClr val="tx1"/>
            </a:solidFill>
          </a:uFill>
          <a:latin typeface="Calibri" panose="020F0502020204030204" pitchFamily="34" charset="0"/>
          <a:ea typeface="+mn-ea"/>
          <a:cs typeface="+mn-cs"/>
        </a:defRPr>
      </a:lvl5pPr>
      <a:lvl6pPr marL="2880131" algn="l" defTabSz="1152053" rtl="0" eaLnBrk="1" latinLnBrk="0" hangingPunct="1">
        <a:defRPr sz="1134" kern="1200">
          <a:solidFill>
            <a:schemeClr val="tx1"/>
          </a:solidFill>
          <a:latin typeface="+mn-lt"/>
          <a:ea typeface="+mn-ea"/>
          <a:cs typeface="+mn-cs"/>
        </a:defRPr>
      </a:lvl6pPr>
      <a:lvl7pPr marL="3456158" algn="l" defTabSz="1152053" rtl="0" eaLnBrk="1" latinLnBrk="0" hangingPunct="1">
        <a:defRPr sz="1134" kern="1200">
          <a:solidFill>
            <a:schemeClr val="tx1"/>
          </a:solidFill>
          <a:latin typeface="+mn-lt"/>
          <a:ea typeface="+mn-ea"/>
          <a:cs typeface="+mn-cs"/>
        </a:defRPr>
      </a:lvl7pPr>
      <a:lvl8pPr marL="4032184" algn="l" defTabSz="1152053" rtl="0" eaLnBrk="1" latinLnBrk="0" hangingPunct="1">
        <a:defRPr sz="1134" kern="1200">
          <a:solidFill>
            <a:schemeClr val="tx1"/>
          </a:solidFill>
          <a:latin typeface="+mn-lt"/>
          <a:ea typeface="+mn-ea"/>
          <a:cs typeface="+mn-cs"/>
        </a:defRPr>
      </a:lvl8pPr>
      <a:lvl9pPr marL="4608210" algn="l" defTabSz="1152053" rtl="0" eaLnBrk="1" latinLnBrk="0" hangingPunct="1">
        <a:defRPr sz="11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8.w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20.jp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5.xml"/><Relationship Id="rId10" Type="http://schemas.openxmlformats.org/officeDocument/2006/relationships/chart" Target="../charts/chart1.xml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oleObject" Target="../embeddings/oleObject5.bin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microsoft.com/office/2007/relationships/hdphoto" Target="../media/hdphoto2.wdp"/><Relationship Id="rId5" Type="http://schemas.openxmlformats.org/officeDocument/2006/relationships/image" Target="../media/image16.png"/><Relationship Id="rId4" Type="http://schemas.openxmlformats.org/officeDocument/2006/relationships/slideLayout" Target="../slideLayouts/slideLayout35.xml"/><Relationship Id="rId9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62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5F1075B-1D7E-E04B-AE76-575CA22F82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 smtClean="0"/>
              <a:t>Business </a:t>
            </a:r>
            <a:r>
              <a:rPr lang="de-DE" dirty="0" err="1" smtClean="0"/>
              <a:t>Opportunities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with</a:t>
            </a:r>
            <a:r>
              <a:rPr lang="de-DE" dirty="0" smtClean="0"/>
              <a:t> Green </a:t>
            </a:r>
            <a:r>
              <a:rPr lang="de-DE" dirty="0" err="1" smtClean="0"/>
              <a:t>Energy</a:t>
            </a:r>
            <a:r>
              <a:rPr lang="de-DE" dirty="0" smtClean="0"/>
              <a:t> in Germany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16B2671-9FF6-BF43-BC76-2F6CC195FA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Thomas Grigoleit</a:t>
            </a:r>
          </a:p>
          <a:p>
            <a:r>
              <a:rPr lang="de-DE" dirty="0" err="1" smtClean="0"/>
              <a:t>Director</a:t>
            </a:r>
            <a:r>
              <a:rPr lang="de-DE" dirty="0" smtClean="0"/>
              <a:t> </a:t>
            </a:r>
            <a:r>
              <a:rPr lang="de-DE" dirty="0" err="1" smtClean="0"/>
              <a:t>Energy</a:t>
            </a:r>
            <a:r>
              <a:rPr lang="de-DE" dirty="0" smtClean="0"/>
              <a:t>, </a:t>
            </a:r>
            <a:r>
              <a:rPr lang="de-DE" dirty="0" err="1" smtClean="0"/>
              <a:t>Construc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Environment</a:t>
            </a:r>
            <a:endParaRPr lang="de-DE" dirty="0"/>
          </a:p>
          <a:p>
            <a:r>
              <a:rPr lang="de-DE" dirty="0" smtClean="0"/>
              <a:t>www.gtai.c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1180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8548D91-C9E9-3644-9576-7B566131A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244" y="-179913"/>
            <a:ext cx="10440988" cy="1078687"/>
          </a:xfrm>
        </p:spPr>
        <p:txBody>
          <a:bodyPr/>
          <a:lstStyle/>
          <a:p>
            <a:r>
              <a:rPr lang="de-DE" dirty="0" err="1" smtClean="0"/>
              <a:t>Pillar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Market Transformation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AC33C96-283A-6949-8A52-50C9D8216D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C906666-5CCC-9243-9938-18A7ADCB1C00}"/>
              </a:ext>
            </a:extLst>
          </p:cNvPr>
          <p:cNvSpPr/>
          <p:nvPr/>
        </p:nvSpPr>
        <p:spPr>
          <a:xfrm>
            <a:off x="0" y="1646982"/>
            <a:ext cx="11520244" cy="4860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spcBef>
                <a:spcPts val="600"/>
              </a:spcBef>
              <a:buFont typeface="Calibri" pitchFamily="34" charset="0"/>
              <a:buChar char="•"/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592930E8-82B7-2745-BE43-C254963EDD84}"/>
              </a:ext>
            </a:extLst>
          </p:cNvPr>
          <p:cNvSpPr txBox="1"/>
          <p:nvPr/>
        </p:nvSpPr>
        <p:spPr>
          <a:xfrm>
            <a:off x="950704" y="4082677"/>
            <a:ext cx="1980494" cy="882742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de-DE" sz="1600" b="1" dirty="0" err="1" smtClean="0"/>
              <a:t>Energ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fficienc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reduction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of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the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nerg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demand</a:t>
            </a:r>
            <a:endParaRPr lang="de-DE" sz="1600" b="1" dirty="0"/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405C25E2-90C8-A249-94C0-0E59B365501F}"/>
              </a:ext>
            </a:extLst>
          </p:cNvPr>
          <p:cNvSpPr txBox="1"/>
          <p:nvPr/>
        </p:nvSpPr>
        <p:spPr>
          <a:xfrm>
            <a:off x="4819136" y="4082677"/>
            <a:ext cx="1980494" cy="882742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de-DE" sz="1600" b="1" dirty="0" err="1" smtClean="0"/>
              <a:t>Electrification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development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of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renewable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lectricity</a:t>
            </a:r>
            <a:endParaRPr lang="de-DE" sz="1600" b="1" dirty="0"/>
          </a:p>
        </p:txBody>
      </p:sp>
      <p:sp>
        <p:nvSpPr>
          <p:cNvPr id="17" name="TextBox 8">
            <a:extLst>
              <a:ext uri="{FF2B5EF4-FFF2-40B4-BE49-F238E27FC236}">
                <a16:creationId xmlns:a16="http://schemas.microsoft.com/office/drawing/2014/main" id="{F0439BD1-0F1D-4F4D-8694-D33A166F165F}"/>
              </a:ext>
            </a:extLst>
          </p:cNvPr>
          <p:cNvSpPr txBox="1"/>
          <p:nvPr/>
        </p:nvSpPr>
        <p:spPr>
          <a:xfrm>
            <a:off x="8904872" y="4082677"/>
            <a:ext cx="1980494" cy="882742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/>
            <a:r>
              <a:rPr lang="de-DE" sz="1600" b="1" dirty="0" smtClean="0"/>
              <a:t>Development </a:t>
            </a:r>
            <a:r>
              <a:rPr lang="de-DE" sz="1600" b="1" dirty="0" err="1" smtClean="0"/>
              <a:t>of</a:t>
            </a:r>
            <a:r>
              <a:rPr lang="de-DE" sz="1600" b="1" dirty="0" smtClean="0"/>
              <a:t> hydrogen </a:t>
            </a:r>
            <a:r>
              <a:rPr lang="de-DE" sz="1600" b="1" dirty="0" err="1" smtClean="0"/>
              <a:t>as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energy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carrier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and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feedstock</a:t>
            </a:r>
            <a:endParaRPr lang="de-DE" sz="1600" b="1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3B28690-0748-A643-99BC-8240C39B2A44}"/>
              </a:ext>
            </a:extLst>
          </p:cNvPr>
          <p:cNvSpPr/>
          <p:nvPr/>
        </p:nvSpPr>
        <p:spPr>
          <a:xfrm>
            <a:off x="1202162" y="2365695"/>
            <a:ext cx="1463851" cy="1463851"/>
          </a:xfrm>
          <a:prstGeom prst="ellipse">
            <a:avLst/>
          </a:prstGeom>
          <a:gradFill>
            <a:gsLst>
              <a:gs pos="5000">
                <a:srgbClr val="0059A3">
                  <a:lumMod val="90000"/>
                  <a:lumOff val="10000"/>
                </a:srgbClr>
              </a:gs>
              <a:gs pos="30000">
                <a:srgbClr val="008BD2"/>
              </a:gs>
              <a:gs pos="85000">
                <a:srgbClr val="5BC5F2"/>
              </a:gs>
            </a:gsLst>
            <a:lin ang="19200000" scaled="0"/>
          </a:gra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ko-KR" altLang="en-US" sz="2699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0472837-4C8C-0047-902D-25AF73730B45}"/>
              </a:ext>
            </a:extLst>
          </p:cNvPr>
          <p:cNvSpPr/>
          <p:nvPr/>
        </p:nvSpPr>
        <p:spPr>
          <a:xfrm>
            <a:off x="5053517" y="2365695"/>
            <a:ext cx="1463851" cy="1463851"/>
          </a:xfrm>
          <a:prstGeom prst="ellipse">
            <a:avLst/>
          </a:prstGeom>
          <a:gradFill>
            <a:gsLst>
              <a:gs pos="5000">
                <a:srgbClr val="0059A3">
                  <a:lumMod val="90000"/>
                  <a:lumOff val="10000"/>
                </a:srgbClr>
              </a:gs>
              <a:gs pos="30000">
                <a:srgbClr val="008BD2"/>
              </a:gs>
              <a:gs pos="85000">
                <a:srgbClr val="5BC5F2"/>
              </a:gs>
            </a:gsLst>
            <a:lin ang="19200000" scaled="0"/>
          </a:gra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ko-KR" altLang="en-US" sz="2699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902FB16-726F-524C-A47E-42BAF296206A}"/>
              </a:ext>
            </a:extLst>
          </p:cNvPr>
          <p:cNvSpPr/>
          <p:nvPr/>
        </p:nvSpPr>
        <p:spPr>
          <a:xfrm>
            <a:off x="9114091" y="2365695"/>
            <a:ext cx="1463851" cy="1463851"/>
          </a:xfrm>
          <a:prstGeom prst="ellipse">
            <a:avLst/>
          </a:prstGeom>
          <a:gradFill>
            <a:gsLst>
              <a:gs pos="5000">
                <a:srgbClr val="0059A3">
                  <a:lumMod val="90000"/>
                  <a:lumOff val="10000"/>
                </a:srgbClr>
              </a:gs>
              <a:gs pos="30000">
                <a:srgbClr val="008BD2"/>
              </a:gs>
              <a:gs pos="85000">
                <a:srgbClr val="5BC5F2"/>
              </a:gs>
            </a:gsLst>
            <a:lin ang="19200000" scaled="0"/>
          </a:gra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altLang="ko-KR" sz="4000" dirty="0" smtClean="0">
                <a:solidFill>
                  <a:schemeClr val="tx1"/>
                </a:solidFill>
              </a:rPr>
              <a:t>H</a:t>
            </a:r>
            <a:r>
              <a:rPr lang="de-DE" altLang="ko-KR" sz="4000" baseline="-25000" dirty="0" smtClean="0">
                <a:solidFill>
                  <a:schemeClr val="tx1"/>
                </a:solidFill>
              </a:rPr>
              <a:t>2</a:t>
            </a:r>
            <a:endParaRPr lang="ko-KR" altLang="en-US" sz="4000" baseline="-25000" dirty="0">
              <a:solidFill>
                <a:schemeClr val="tx1"/>
              </a:solidFill>
            </a:endParaRPr>
          </a:p>
        </p:txBody>
      </p:sp>
      <p:grpSp>
        <p:nvGrpSpPr>
          <p:cNvPr id="42" name="Grafik 3">
            <a:extLst>
              <a:ext uri="{FF2B5EF4-FFF2-40B4-BE49-F238E27FC236}">
                <a16:creationId xmlns:a16="http://schemas.microsoft.com/office/drawing/2014/main" id="{C4BC9759-5529-1C40-A451-5FA7B3F907AE}"/>
              </a:ext>
            </a:extLst>
          </p:cNvPr>
          <p:cNvGrpSpPr>
            <a:grpSpLocks noChangeAspect="1"/>
          </p:cNvGrpSpPr>
          <p:nvPr/>
        </p:nvGrpSpPr>
        <p:grpSpPr>
          <a:xfrm>
            <a:off x="5443674" y="2639480"/>
            <a:ext cx="669902" cy="900000"/>
            <a:chOff x="2177070" y="1940236"/>
            <a:chExt cx="271777" cy="365125"/>
          </a:xfrm>
          <a:noFill/>
        </p:grpSpPr>
        <p:sp>
          <p:nvSpPr>
            <p:cNvPr id="43" name="Freihandform 42">
              <a:extLst>
                <a:ext uri="{FF2B5EF4-FFF2-40B4-BE49-F238E27FC236}">
                  <a16:creationId xmlns:a16="http://schemas.microsoft.com/office/drawing/2014/main" id="{96900AB5-0DC5-434B-8009-32C9A07FDDF3}"/>
                </a:ext>
              </a:extLst>
            </p:cNvPr>
            <p:cNvSpPr/>
            <p:nvPr/>
          </p:nvSpPr>
          <p:spPr>
            <a:xfrm>
              <a:off x="2193896" y="1940236"/>
              <a:ext cx="238125" cy="365125"/>
            </a:xfrm>
            <a:custGeom>
              <a:avLst/>
              <a:gdLst>
                <a:gd name="connsiteX0" fmla="*/ 8 w 238125"/>
                <a:gd name="connsiteY0" fmla="*/ 365134 h 365125"/>
                <a:gd name="connsiteX1" fmla="*/ 71446 w 238125"/>
                <a:gd name="connsiteY1" fmla="*/ 158758 h 365125"/>
                <a:gd name="connsiteX2" fmla="*/ 71446 w 238125"/>
                <a:gd name="connsiteY2" fmla="*/ 8 h 365125"/>
                <a:gd name="connsiteX3" fmla="*/ 166696 w 238125"/>
                <a:gd name="connsiteY3" fmla="*/ 8 h 365125"/>
                <a:gd name="connsiteX4" fmla="*/ 166696 w 238125"/>
                <a:gd name="connsiteY4" fmla="*/ 158758 h 365125"/>
                <a:gd name="connsiteX5" fmla="*/ 238133 w 238125"/>
                <a:gd name="connsiteY5" fmla="*/ 365134 h 36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8125" h="365125">
                  <a:moveTo>
                    <a:pt x="8" y="365134"/>
                  </a:moveTo>
                  <a:lnTo>
                    <a:pt x="71446" y="158758"/>
                  </a:lnTo>
                  <a:lnTo>
                    <a:pt x="71446" y="8"/>
                  </a:lnTo>
                  <a:lnTo>
                    <a:pt x="166696" y="8"/>
                  </a:lnTo>
                  <a:lnTo>
                    <a:pt x="166696" y="158758"/>
                  </a:lnTo>
                  <a:lnTo>
                    <a:pt x="238133" y="365134"/>
                  </a:lnTo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 43">
              <a:extLst>
                <a:ext uri="{FF2B5EF4-FFF2-40B4-BE49-F238E27FC236}">
                  <a16:creationId xmlns:a16="http://schemas.microsoft.com/office/drawing/2014/main" id="{B279502B-6F9E-DF4E-95E4-4CF6E48B9783}"/>
                </a:ext>
              </a:extLst>
            </p:cNvPr>
            <p:cNvSpPr/>
            <p:nvPr/>
          </p:nvSpPr>
          <p:spPr>
            <a:xfrm>
              <a:off x="2177070" y="2035486"/>
              <a:ext cx="271777" cy="79375"/>
            </a:xfrm>
            <a:custGeom>
              <a:avLst/>
              <a:gdLst>
                <a:gd name="connsiteX0" fmla="*/ 88272 w 271777"/>
                <a:gd name="connsiteY0" fmla="*/ 6 h 79375"/>
                <a:gd name="connsiteX1" fmla="*/ 1435 w 271777"/>
                <a:gd name="connsiteY1" fmla="*/ 72364 h 79375"/>
                <a:gd name="connsiteX2" fmla="*/ 929 w 271777"/>
                <a:gd name="connsiteY2" fmla="*/ 77954 h 79375"/>
                <a:gd name="connsiteX3" fmla="*/ 3991 w 271777"/>
                <a:gd name="connsiteY3" fmla="*/ 79381 h 79375"/>
                <a:gd name="connsiteX4" fmla="*/ 267802 w 271777"/>
                <a:gd name="connsiteY4" fmla="*/ 79381 h 79375"/>
                <a:gd name="connsiteX5" fmla="*/ 271785 w 271777"/>
                <a:gd name="connsiteY5" fmla="*/ 75427 h 79375"/>
                <a:gd name="connsiteX6" fmla="*/ 270358 w 271777"/>
                <a:gd name="connsiteY6" fmla="*/ 72364 h 79375"/>
                <a:gd name="connsiteX7" fmla="*/ 183522 w 271777"/>
                <a:gd name="connsiteY7" fmla="*/ 6 h 7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1777" h="79375">
                  <a:moveTo>
                    <a:pt x="88272" y="6"/>
                  </a:moveTo>
                  <a:lnTo>
                    <a:pt x="1435" y="72364"/>
                  </a:lnTo>
                  <a:cubicBezTo>
                    <a:pt x="-248" y="73768"/>
                    <a:pt x="-475" y="76271"/>
                    <a:pt x="929" y="77954"/>
                  </a:cubicBezTo>
                  <a:cubicBezTo>
                    <a:pt x="1686" y="78862"/>
                    <a:pt x="2809" y="79386"/>
                    <a:pt x="3991" y="79381"/>
                  </a:cubicBezTo>
                  <a:lnTo>
                    <a:pt x="267802" y="79381"/>
                  </a:lnTo>
                  <a:cubicBezTo>
                    <a:pt x="269995" y="79389"/>
                    <a:pt x="271777" y="77619"/>
                    <a:pt x="271785" y="75427"/>
                  </a:cubicBezTo>
                  <a:cubicBezTo>
                    <a:pt x="271790" y="74244"/>
                    <a:pt x="271266" y="73122"/>
                    <a:pt x="270358" y="72364"/>
                  </a:cubicBezTo>
                  <a:lnTo>
                    <a:pt x="183522" y="6"/>
                  </a:lnTo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 44">
              <a:extLst>
                <a:ext uri="{FF2B5EF4-FFF2-40B4-BE49-F238E27FC236}">
                  <a16:creationId xmlns:a16="http://schemas.microsoft.com/office/drawing/2014/main" id="{AD8798D7-86A3-004F-8909-B33F46AEA019}"/>
                </a:ext>
              </a:extLst>
            </p:cNvPr>
            <p:cNvSpPr/>
            <p:nvPr/>
          </p:nvSpPr>
          <p:spPr>
            <a:xfrm>
              <a:off x="2360584" y="1940236"/>
              <a:ext cx="88263" cy="79375"/>
            </a:xfrm>
            <a:custGeom>
              <a:avLst/>
              <a:gdLst>
                <a:gd name="connsiteX0" fmla="*/ 12 w 88263"/>
                <a:gd name="connsiteY0" fmla="*/ 79377 h 79375"/>
                <a:gd name="connsiteX1" fmla="*/ 84292 w 88263"/>
                <a:gd name="connsiteY1" fmla="*/ 79377 h 79375"/>
                <a:gd name="connsiteX2" fmla="*/ 88275 w 88263"/>
                <a:gd name="connsiteY2" fmla="*/ 75423 h 79375"/>
                <a:gd name="connsiteX3" fmla="*/ 86848 w 88263"/>
                <a:gd name="connsiteY3" fmla="*/ 72360 h 79375"/>
                <a:gd name="connsiteX4" fmla="*/ 12 w 88263"/>
                <a:gd name="connsiteY4" fmla="*/ 2 h 7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63" h="79375">
                  <a:moveTo>
                    <a:pt x="12" y="79377"/>
                  </a:moveTo>
                  <a:lnTo>
                    <a:pt x="84292" y="79377"/>
                  </a:lnTo>
                  <a:cubicBezTo>
                    <a:pt x="86485" y="79385"/>
                    <a:pt x="88268" y="77614"/>
                    <a:pt x="88275" y="75423"/>
                  </a:cubicBezTo>
                  <a:cubicBezTo>
                    <a:pt x="88280" y="74240"/>
                    <a:pt x="87756" y="73118"/>
                    <a:pt x="86848" y="72360"/>
                  </a:cubicBezTo>
                  <a:lnTo>
                    <a:pt x="12" y="2"/>
                  </a:lnTo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 45">
              <a:extLst>
                <a:ext uri="{FF2B5EF4-FFF2-40B4-BE49-F238E27FC236}">
                  <a16:creationId xmlns:a16="http://schemas.microsoft.com/office/drawing/2014/main" id="{11B8D7B3-0ACF-9748-953A-4CEBC5F7B081}"/>
                </a:ext>
              </a:extLst>
            </p:cNvPr>
            <p:cNvSpPr/>
            <p:nvPr/>
          </p:nvSpPr>
          <p:spPr>
            <a:xfrm>
              <a:off x="2177070" y="1940236"/>
              <a:ext cx="88263" cy="79375"/>
            </a:xfrm>
            <a:custGeom>
              <a:avLst/>
              <a:gdLst>
                <a:gd name="connsiteX0" fmla="*/ 88268 w 88263"/>
                <a:gd name="connsiteY0" fmla="*/ 2 h 79375"/>
                <a:gd name="connsiteX1" fmla="*/ 1431 w 88263"/>
                <a:gd name="connsiteY1" fmla="*/ 72360 h 79375"/>
                <a:gd name="connsiteX2" fmla="*/ 925 w 88263"/>
                <a:gd name="connsiteY2" fmla="*/ 77950 h 79375"/>
                <a:gd name="connsiteX3" fmla="*/ 3987 w 88263"/>
                <a:gd name="connsiteY3" fmla="*/ 79377 h 79375"/>
                <a:gd name="connsiteX4" fmla="*/ 88268 w 88263"/>
                <a:gd name="connsiteY4" fmla="*/ 79377 h 7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263" h="79375">
                  <a:moveTo>
                    <a:pt x="88268" y="2"/>
                  </a:moveTo>
                  <a:lnTo>
                    <a:pt x="1431" y="72360"/>
                  </a:lnTo>
                  <a:cubicBezTo>
                    <a:pt x="-252" y="73764"/>
                    <a:pt x="-479" y="76267"/>
                    <a:pt x="925" y="77950"/>
                  </a:cubicBezTo>
                  <a:cubicBezTo>
                    <a:pt x="1682" y="78858"/>
                    <a:pt x="2805" y="79381"/>
                    <a:pt x="3987" y="79377"/>
                  </a:cubicBezTo>
                  <a:lnTo>
                    <a:pt x="88268" y="79377"/>
                  </a:lnTo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 46">
              <a:extLst>
                <a:ext uri="{FF2B5EF4-FFF2-40B4-BE49-F238E27FC236}">
                  <a16:creationId xmlns:a16="http://schemas.microsoft.com/office/drawing/2014/main" id="{E6939F3C-80BD-9E46-ADDA-694653E49558}"/>
                </a:ext>
              </a:extLst>
            </p:cNvPr>
            <p:cNvSpPr/>
            <p:nvPr/>
          </p:nvSpPr>
          <p:spPr>
            <a:xfrm>
              <a:off x="2243760" y="2161328"/>
              <a:ext cx="170958" cy="94043"/>
            </a:xfrm>
            <a:custGeom>
              <a:avLst/>
              <a:gdLst>
                <a:gd name="connsiteX0" fmla="*/ 9 w 170958"/>
                <a:gd name="connsiteY0" fmla="*/ 12 h 94043"/>
                <a:gd name="connsiteX1" fmla="*/ 170967 w 170958"/>
                <a:gd name="connsiteY1" fmla="*/ 94055 h 9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958" h="94043">
                  <a:moveTo>
                    <a:pt x="9" y="12"/>
                  </a:moveTo>
                  <a:lnTo>
                    <a:pt x="170967" y="94055"/>
                  </a:lnTo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 52">
              <a:extLst>
                <a:ext uri="{FF2B5EF4-FFF2-40B4-BE49-F238E27FC236}">
                  <a16:creationId xmlns:a16="http://schemas.microsoft.com/office/drawing/2014/main" id="{A1FFE70D-10D1-A549-B0F4-696C872DE74C}"/>
                </a:ext>
              </a:extLst>
            </p:cNvPr>
            <p:cNvSpPr/>
            <p:nvPr/>
          </p:nvSpPr>
          <p:spPr>
            <a:xfrm>
              <a:off x="2211200" y="2161328"/>
              <a:ext cx="170958" cy="94043"/>
            </a:xfrm>
            <a:custGeom>
              <a:avLst/>
              <a:gdLst>
                <a:gd name="connsiteX0" fmla="*/ 170966 w 170958"/>
                <a:gd name="connsiteY0" fmla="*/ 12 h 94043"/>
                <a:gd name="connsiteX1" fmla="*/ 7 w 170958"/>
                <a:gd name="connsiteY1" fmla="*/ 94055 h 94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958" h="94043">
                  <a:moveTo>
                    <a:pt x="170966" y="12"/>
                  </a:moveTo>
                  <a:lnTo>
                    <a:pt x="7" y="94055"/>
                  </a:lnTo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 53">
              <a:extLst>
                <a:ext uri="{FF2B5EF4-FFF2-40B4-BE49-F238E27FC236}">
                  <a16:creationId xmlns:a16="http://schemas.microsoft.com/office/drawing/2014/main" id="{B54A7303-BCE6-054B-B3DA-97963E9B5507}"/>
                </a:ext>
              </a:extLst>
            </p:cNvPr>
            <p:cNvSpPr/>
            <p:nvPr/>
          </p:nvSpPr>
          <p:spPr>
            <a:xfrm>
              <a:off x="2265334" y="1940236"/>
              <a:ext cx="95250" cy="158750"/>
            </a:xfrm>
            <a:custGeom>
              <a:avLst/>
              <a:gdLst>
                <a:gd name="connsiteX0" fmla="*/ 8 w 95250"/>
                <a:gd name="connsiteY0" fmla="*/ 4 h 158750"/>
                <a:gd name="connsiteX1" fmla="*/ 95258 w 95250"/>
                <a:gd name="connsiteY1" fmla="*/ 158754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158750">
                  <a:moveTo>
                    <a:pt x="8" y="4"/>
                  </a:moveTo>
                  <a:lnTo>
                    <a:pt x="95258" y="158754"/>
                  </a:lnTo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 54">
              <a:extLst>
                <a:ext uri="{FF2B5EF4-FFF2-40B4-BE49-F238E27FC236}">
                  <a16:creationId xmlns:a16="http://schemas.microsoft.com/office/drawing/2014/main" id="{94442C87-3B8F-2F45-97F6-76863DAA37E7}"/>
                </a:ext>
              </a:extLst>
            </p:cNvPr>
            <p:cNvSpPr/>
            <p:nvPr/>
          </p:nvSpPr>
          <p:spPr>
            <a:xfrm>
              <a:off x="2265334" y="1940236"/>
              <a:ext cx="95250" cy="158750"/>
            </a:xfrm>
            <a:custGeom>
              <a:avLst/>
              <a:gdLst>
                <a:gd name="connsiteX0" fmla="*/ 95258 w 95250"/>
                <a:gd name="connsiteY0" fmla="*/ 4 h 158750"/>
                <a:gd name="connsiteX1" fmla="*/ 8 w 95250"/>
                <a:gd name="connsiteY1" fmla="*/ 158754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158750">
                  <a:moveTo>
                    <a:pt x="95258" y="4"/>
                  </a:moveTo>
                  <a:lnTo>
                    <a:pt x="8" y="158754"/>
                  </a:lnTo>
                </a:path>
              </a:pathLst>
            </a:custGeom>
            <a:noFill/>
            <a:ln w="15875" cap="flat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1" name="Grafik 135">
            <a:extLst>
              <a:ext uri="{FF2B5EF4-FFF2-40B4-BE49-F238E27FC236}">
                <a16:creationId xmlns:a16="http://schemas.microsoft.com/office/drawing/2014/main" id="{FE70EF32-E0D7-EA43-8199-DB8D5B354264}"/>
              </a:ext>
            </a:extLst>
          </p:cNvPr>
          <p:cNvGrpSpPr>
            <a:grpSpLocks noChangeAspect="1"/>
          </p:cNvGrpSpPr>
          <p:nvPr/>
        </p:nvGrpSpPr>
        <p:grpSpPr>
          <a:xfrm>
            <a:off x="1478809" y="2667057"/>
            <a:ext cx="864000" cy="826431"/>
            <a:chOff x="2127537" y="3537997"/>
            <a:chExt cx="365125" cy="349250"/>
          </a:xfrm>
          <a:noFill/>
        </p:grpSpPr>
        <p:sp>
          <p:nvSpPr>
            <p:cNvPr id="72" name="Freihandform 71">
              <a:extLst>
                <a:ext uri="{FF2B5EF4-FFF2-40B4-BE49-F238E27FC236}">
                  <a16:creationId xmlns:a16="http://schemas.microsoft.com/office/drawing/2014/main" id="{8E3710CF-6D6B-E64C-94C5-C75F88CCF8D9}"/>
                </a:ext>
              </a:extLst>
            </p:cNvPr>
            <p:cNvSpPr/>
            <p:nvPr/>
          </p:nvSpPr>
          <p:spPr>
            <a:xfrm>
              <a:off x="2127537" y="3887247"/>
              <a:ext cx="365125" cy="9525"/>
            </a:xfrm>
            <a:custGeom>
              <a:avLst/>
              <a:gdLst>
                <a:gd name="connsiteX0" fmla="*/ 365134 w 365125"/>
                <a:gd name="connsiteY0" fmla="*/ 15 h 9525"/>
                <a:gd name="connsiteX1" fmla="*/ 8 w 365125"/>
                <a:gd name="connsiteY1" fmla="*/ 1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125" h="9525">
                  <a:moveTo>
                    <a:pt x="365134" y="15"/>
                  </a:moveTo>
                  <a:lnTo>
                    <a:pt x="8" y="15"/>
                  </a:lnTo>
                </a:path>
              </a:pathLst>
            </a:custGeom>
            <a:noFill/>
            <a:ln w="15875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 72">
              <a:extLst>
                <a:ext uri="{FF2B5EF4-FFF2-40B4-BE49-F238E27FC236}">
                  <a16:creationId xmlns:a16="http://schemas.microsoft.com/office/drawing/2014/main" id="{9BDDAFE0-7656-9848-B921-17CBF57C173F}"/>
                </a:ext>
              </a:extLst>
            </p:cNvPr>
            <p:cNvSpPr/>
            <p:nvPr/>
          </p:nvSpPr>
          <p:spPr>
            <a:xfrm>
              <a:off x="2429099" y="3807872"/>
              <a:ext cx="47625" cy="79375"/>
            </a:xfrm>
            <a:custGeom>
              <a:avLst/>
              <a:gdLst>
                <a:gd name="connsiteX0" fmla="*/ 14 w 47625"/>
                <a:gd name="connsiteY0" fmla="*/ 79389 h 79375"/>
                <a:gd name="connsiteX1" fmla="*/ 14 w 47625"/>
                <a:gd name="connsiteY1" fmla="*/ 7951 h 79375"/>
                <a:gd name="connsiteX2" fmla="*/ 7952 w 47625"/>
                <a:gd name="connsiteY2" fmla="*/ 14 h 79375"/>
                <a:gd name="connsiteX3" fmla="*/ 39702 w 47625"/>
                <a:gd name="connsiteY3" fmla="*/ 14 h 79375"/>
                <a:gd name="connsiteX4" fmla="*/ 47639 w 47625"/>
                <a:gd name="connsiteY4" fmla="*/ 7951 h 79375"/>
                <a:gd name="connsiteX5" fmla="*/ 47639 w 47625"/>
                <a:gd name="connsiteY5" fmla="*/ 79389 h 7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79375">
                  <a:moveTo>
                    <a:pt x="14" y="79389"/>
                  </a:moveTo>
                  <a:lnTo>
                    <a:pt x="14" y="7951"/>
                  </a:lnTo>
                  <a:cubicBezTo>
                    <a:pt x="14" y="3568"/>
                    <a:pt x="3568" y="14"/>
                    <a:pt x="7952" y="14"/>
                  </a:cubicBezTo>
                  <a:lnTo>
                    <a:pt x="39702" y="14"/>
                  </a:lnTo>
                  <a:cubicBezTo>
                    <a:pt x="44085" y="14"/>
                    <a:pt x="47639" y="3568"/>
                    <a:pt x="47639" y="7951"/>
                  </a:cubicBezTo>
                  <a:lnTo>
                    <a:pt x="47639" y="79389"/>
                  </a:lnTo>
                </a:path>
              </a:pathLst>
            </a:custGeom>
            <a:noFill/>
            <a:ln w="15875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 73">
              <a:extLst>
                <a:ext uri="{FF2B5EF4-FFF2-40B4-BE49-F238E27FC236}">
                  <a16:creationId xmlns:a16="http://schemas.microsoft.com/office/drawing/2014/main" id="{5D289654-496E-104B-A472-7036EFC63A53}"/>
                </a:ext>
              </a:extLst>
            </p:cNvPr>
            <p:cNvSpPr/>
            <p:nvPr/>
          </p:nvSpPr>
          <p:spPr>
            <a:xfrm>
              <a:off x="2333848" y="3728497"/>
              <a:ext cx="47625" cy="158750"/>
            </a:xfrm>
            <a:custGeom>
              <a:avLst/>
              <a:gdLst>
                <a:gd name="connsiteX0" fmla="*/ 10 w 47625"/>
                <a:gd name="connsiteY0" fmla="*/ 158762 h 158750"/>
                <a:gd name="connsiteX1" fmla="*/ 10 w 47625"/>
                <a:gd name="connsiteY1" fmla="*/ 7950 h 158750"/>
                <a:gd name="connsiteX2" fmla="*/ 7948 w 47625"/>
                <a:gd name="connsiteY2" fmla="*/ 12 h 158750"/>
                <a:gd name="connsiteX3" fmla="*/ 39698 w 47625"/>
                <a:gd name="connsiteY3" fmla="*/ 12 h 158750"/>
                <a:gd name="connsiteX4" fmla="*/ 47635 w 47625"/>
                <a:gd name="connsiteY4" fmla="*/ 7950 h 158750"/>
                <a:gd name="connsiteX5" fmla="*/ 47635 w 47625"/>
                <a:gd name="connsiteY5" fmla="*/ 158762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158750">
                  <a:moveTo>
                    <a:pt x="10" y="158762"/>
                  </a:moveTo>
                  <a:lnTo>
                    <a:pt x="10" y="7950"/>
                  </a:lnTo>
                  <a:cubicBezTo>
                    <a:pt x="10" y="3566"/>
                    <a:pt x="3564" y="12"/>
                    <a:pt x="7948" y="12"/>
                  </a:cubicBezTo>
                  <a:lnTo>
                    <a:pt x="39698" y="12"/>
                  </a:lnTo>
                  <a:cubicBezTo>
                    <a:pt x="44081" y="12"/>
                    <a:pt x="47635" y="3566"/>
                    <a:pt x="47635" y="7950"/>
                  </a:cubicBezTo>
                  <a:lnTo>
                    <a:pt x="47635" y="158762"/>
                  </a:lnTo>
                </a:path>
              </a:pathLst>
            </a:custGeom>
            <a:noFill/>
            <a:ln w="15875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 74">
              <a:extLst>
                <a:ext uri="{FF2B5EF4-FFF2-40B4-BE49-F238E27FC236}">
                  <a16:creationId xmlns:a16="http://schemas.microsoft.com/office/drawing/2014/main" id="{9DC870C8-7AB5-6044-AC29-5A1C4DC09C74}"/>
                </a:ext>
              </a:extLst>
            </p:cNvPr>
            <p:cNvSpPr/>
            <p:nvPr/>
          </p:nvSpPr>
          <p:spPr>
            <a:xfrm>
              <a:off x="2238598" y="3760247"/>
              <a:ext cx="47625" cy="127000"/>
            </a:xfrm>
            <a:custGeom>
              <a:avLst/>
              <a:gdLst>
                <a:gd name="connsiteX0" fmla="*/ 6 w 47625"/>
                <a:gd name="connsiteY0" fmla="*/ 127013 h 127000"/>
                <a:gd name="connsiteX1" fmla="*/ 6 w 47625"/>
                <a:gd name="connsiteY1" fmla="*/ 7950 h 127000"/>
                <a:gd name="connsiteX2" fmla="*/ 7944 w 47625"/>
                <a:gd name="connsiteY2" fmla="*/ 13 h 127000"/>
                <a:gd name="connsiteX3" fmla="*/ 39694 w 47625"/>
                <a:gd name="connsiteY3" fmla="*/ 13 h 127000"/>
                <a:gd name="connsiteX4" fmla="*/ 47631 w 47625"/>
                <a:gd name="connsiteY4" fmla="*/ 7950 h 127000"/>
                <a:gd name="connsiteX5" fmla="*/ 47631 w 47625"/>
                <a:gd name="connsiteY5" fmla="*/ 127013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127000">
                  <a:moveTo>
                    <a:pt x="6" y="127013"/>
                  </a:moveTo>
                  <a:lnTo>
                    <a:pt x="6" y="7950"/>
                  </a:lnTo>
                  <a:cubicBezTo>
                    <a:pt x="6" y="3567"/>
                    <a:pt x="3560" y="13"/>
                    <a:pt x="7944" y="13"/>
                  </a:cubicBezTo>
                  <a:lnTo>
                    <a:pt x="39694" y="13"/>
                  </a:lnTo>
                  <a:cubicBezTo>
                    <a:pt x="44077" y="13"/>
                    <a:pt x="47631" y="3567"/>
                    <a:pt x="47631" y="7950"/>
                  </a:cubicBezTo>
                  <a:lnTo>
                    <a:pt x="47631" y="127013"/>
                  </a:lnTo>
                </a:path>
              </a:pathLst>
            </a:custGeom>
            <a:noFill/>
            <a:ln w="15875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 75">
              <a:extLst>
                <a:ext uri="{FF2B5EF4-FFF2-40B4-BE49-F238E27FC236}">
                  <a16:creationId xmlns:a16="http://schemas.microsoft.com/office/drawing/2014/main" id="{3D9CF92B-9D0C-844C-916B-90F0E0FF0950}"/>
                </a:ext>
              </a:extLst>
            </p:cNvPr>
            <p:cNvSpPr/>
            <p:nvPr/>
          </p:nvSpPr>
          <p:spPr>
            <a:xfrm>
              <a:off x="2143348" y="3649122"/>
              <a:ext cx="47625" cy="238125"/>
            </a:xfrm>
            <a:custGeom>
              <a:avLst/>
              <a:gdLst>
                <a:gd name="connsiteX0" fmla="*/ 2 w 47625"/>
                <a:gd name="connsiteY0" fmla="*/ 238136 h 238125"/>
                <a:gd name="connsiteX1" fmla="*/ 2 w 47625"/>
                <a:gd name="connsiteY1" fmla="*/ 7948 h 238125"/>
                <a:gd name="connsiteX2" fmla="*/ 7940 w 47625"/>
                <a:gd name="connsiteY2" fmla="*/ 10 h 238125"/>
                <a:gd name="connsiteX3" fmla="*/ 39690 w 47625"/>
                <a:gd name="connsiteY3" fmla="*/ 10 h 238125"/>
                <a:gd name="connsiteX4" fmla="*/ 47627 w 47625"/>
                <a:gd name="connsiteY4" fmla="*/ 7948 h 238125"/>
                <a:gd name="connsiteX5" fmla="*/ 47627 w 47625"/>
                <a:gd name="connsiteY5" fmla="*/ 238136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238125">
                  <a:moveTo>
                    <a:pt x="2" y="238136"/>
                  </a:moveTo>
                  <a:lnTo>
                    <a:pt x="2" y="7948"/>
                  </a:lnTo>
                  <a:cubicBezTo>
                    <a:pt x="2" y="3564"/>
                    <a:pt x="3556" y="10"/>
                    <a:pt x="7940" y="10"/>
                  </a:cubicBezTo>
                  <a:lnTo>
                    <a:pt x="39690" y="10"/>
                  </a:lnTo>
                  <a:cubicBezTo>
                    <a:pt x="44073" y="10"/>
                    <a:pt x="47627" y="3564"/>
                    <a:pt x="47627" y="7948"/>
                  </a:cubicBezTo>
                  <a:lnTo>
                    <a:pt x="47627" y="238136"/>
                  </a:lnTo>
                </a:path>
              </a:pathLst>
            </a:custGeom>
            <a:noFill/>
            <a:ln w="15875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 76">
              <a:extLst>
                <a:ext uri="{FF2B5EF4-FFF2-40B4-BE49-F238E27FC236}">
                  <a16:creationId xmlns:a16="http://schemas.microsoft.com/office/drawing/2014/main" id="{3E6C41EE-AD50-FA40-8673-1EDCB7758ADF}"/>
                </a:ext>
              </a:extLst>
            </p:cNvPr>
            <p:cNvSpPr/>
            <p:nvPr/>
          </p:nvSpPr>
          <p:spPr>
            <a:xfrm>
              <a:off x="2190973" y="3537997"/>
              <a:ext cx="293688" cy="158750"/>
            </a:xfrm>
            <a:custGeom>
              <a:avLst/>
              <a:gdLst>
                <a:gd name="connsiteX0" fmla="*/ 293697 w 293688"/>
                <a:gd name="connsiteY0" fmla="*/ 158754 h 158750"/>
                <a:gd name="connsiteX1" fmla="*/ 204480 w 293688"/>
                <a:gd name="connsiteY1" fmla="*/ 62615 h 158750"/>
                <a:gd name="connsiteX2" fmla="*/ 171142 w 293688"/>
                <a:gd name="connsiteY2" fmla="*/ 54090 h 158750"/>
                <a:gd name="connsiteX3" fmla="*/ 112103 w 293688"/>
                <a:gd name="connsiteY3" fmla="*/ 73791 h 158750"/>
                <a:gd name="connsiteX4" fmla="*/ 81734 w 293688"/>
                <a:gd name="connsiteY4" fmla="*/ 68060 h 158750"/>
                <a:gd name="connsiteX5" fmla="*/ 9 w 293688"/>
                <a:gd name="connsiteY5" fmla="*/ 4 h 15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3688" h="158750">
                  <a:moveTo>
                    <a:pt x="293697" y="158754"/>
                  </a:moveTo>
                  <a:lnTo>
                    <a:pt x="204480" y="62615"/>
                  </a:lnTo>
                  <a:cubicBezTo>
                    <a:pt x="196004" y="53476"/>
                    <a:pt x="182964" y="50142"/>
                    <a:pt x="171142" y="54090"/>
                  </a:cubicBezTo>
                  <a:lnTo>
                    <a:pt x="112103" y="73791"/>
                  </a:lnTo>
                  <a:cubicBezTo>
                    <a:pt x="101670" y="77269"/>
                    <a:pt x="90181" y="75101"/>
                    <a:pt x="81734" y="68060"/>
                  </a:cubicBezTo>
                  <a:lnTo>
                    <a:pt x="9" y="4"/>
                  </a:lnTo>
                </a:path>
              </a:pathLst>
            </a:custGeom>
            <a:noFill/>
            <a:ln w="15875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 77">
              <a:extLst>
                <a:ext uri="{FF2B5EF4-FFF2-40B4-BE49-F238E27FC236}">
                  <a16:creationId xmlns:a16="http://schemas.microsoft.com/office/drawing/2014/main" id="{F823938D-8A12-8C4D-9B5E-BDA9CC0B2AFA}"/>
                </a:ext>
              </a:extLst>
            </p:cNvPr>
            <p:cNvSpPr/>
            <p:nvPr/>
          </p:nvSpPr>
          <p:spPr>
            <a:xfrm>
              <a:off x="2421225" y="3633247"/>
              <a:ext cx="63500" cy="63500"/>
            </a:xfrm>
            <a:custGeom>
              <a:avLst/>
              <a:gdLst>
                <a:gd name="connsiteX0" fmla="*/ 14 w 63500"/>
                <a:gd name="connsiteY0" fmla="*/ 63506 h 63500"/>
                <a:gd name="connsiteX1" fmla="*/ 63514 w 63500"/>
                <a:gd name="connsiteY1" fmla="*/ 63506 h 63500"/>
                <a:gd name="connsiteX2" fmla="*/ 63514 w 63500"/>
                <a:gd name="connsiteY2" fmla="*/ 6 h 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500" h="63500">
                  <a:moveTo>
                    <a:pt x="14" y="63506"/>
                  </a:moveTo>
                  <a:lnTo>
                    <a:pt x="63514" y="63506"/>
                  </a:lnTo>
                  <a:lnTo>
                    <a:pt x="63514" y="6"/>
                  </a:lnTo>
                </a:path>
              </a:pathLst>
            </a:custGeom>
            <a:noFill/>
            <a:ln w="15875" cap="rnd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9" name="Textplatzhalter 2">
            <a:extLst>
              <a:ext uri="{FF2B5EF4-FFF2-40B4-BE49-F238E27FC236}">
                <a16:creationId xmlns:a16="http://schemas.microsoft.com/office/drawing/2014/main" id="{B69C3790-96DE-1944-A464-15966A27CFC2}"/>
              </a:ext>
            </a:extLst>
          </p:cNvPr>
          <p:cNvSpPr txBox="1">
            <a:spLocks/>
          </p:cNvSpPr>
          <p:nvPr/>
        </p:nvSpPr>
        <p:spPr bwMode="gray">
          <a:xfrm>
            <a:off x="688042" y="5911850"/>
            <a:ext cx="10445096" cy="3603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1152005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0" i="1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1152005" rtl="0" eaLnBrk="1" latinLnBrk="0" hangingPunct="1">
              <a:lnSpc>
                <a:spcPct val="107000"/>
              </a:lnSpc>
              <a:spcBef>
                <a:spcPts val="756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999" kern="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7877" indent="-285750" algn="l" defTabSz="1152005" rtl="0" eaLnBrk="1" latinLnBrk="0" hangingPunct="1">
              <a:lnSpc>
                <a:spcPct val="107000"/>
              </a:lnSpc>
              <a:spcBef>
                <a:spcPts val="504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600" kern="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152005" rtl="0" eaLnBrk="1" latinLnBrk="0" hangingPunct="1">
              <a:lnSpc>
                <a:spcPct val="107000"/>
              </a:lnSpc>
              <a:spcBef>
                <a:spcPts val="2520"/>
              </a:spcBef>
              <a:buFont typeface="Arial" panose="020B0604020202020204" pitchFamily="34" charset="0"/>
              <a:buNone/>
              <a:defRPr sz="1999" b="1" kern="6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152005" rtl="0" eaLnBrk="1" latinLnBrk="0" hangingPunct="1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135" b="0" i="1" kern="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152005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891" b="1" kern="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1152005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37" kern="6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7pPr>
            <a:lvl8pPr marL="4320014" indent="-288001" algn="l" defTabSz="115200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15" indent="-288001" algn="l" defTabSz="115200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Source: Agora Energiewende, Klimaneutrales Deutschland 205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401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800100" y="284400"/>
            <a:ext cx="9963149" cy="5733627"/>
            <a:chOff x="359532" y="1484784"/>
            <a:chExt cx="8329613" cy="4465402"/>
          </a:xfrm>
        </p:grpSpPr>
        <p:sp>
          <p:nvSpPr>
            <p:cNvPr id="13" name="Rectangle 4"/>
            <p:cNvSpPr txBox="1">
              <a:spLocks/>
            </p:cNvSpPr>
            <p:nvPr/>
          </p:nvSpPr>
          <p:spPr bwMode="gray">
            <a:xfrm>
              <a:off x="520701" y="5590146"/>
              <a:ext cx="3511239" cy="36004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900" b="0" i="1" kern="6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buFont typeface="Calibri" panose="020F0502020204030204" pitchFamily="34" charset="0"/>
                <a:buChar char="•"/>
                <a:defRPr sz="1700" kern="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107000"/>
                </a:lnSpc>
                <a:spcBef>
                  <a:spcPts val="400"/>
                </a:spcBef>
                <a:spcAft>
                  <a:spcPts val="0"/>
                </a:spcAft>
                <a:buFont typeface="Calibri" panose="020F0502020204030204" pitchFamily="34" charset="0"/>
                <a:buChar char="–"/>
                <a:defRPr sz="1700" kern="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7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1700" b="1" kern="6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7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900" b="0" i="1" kern="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500" b="1" kern="6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1300" kern="6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GB" sz="1323" b="1" i="0" kern="1200" dirty="0">
                  <a:solidFill>
                    <a:srgbClr val="008BD2"/>
                  </a:solidFill>
                  <a:uFill>
                    <a:solidFill>
                      <a:prstClr val="black"/>
                    </a:solidFill>
                  </a:uFill>
                  <a:cs typeface="Arial" charset="0"/>
                </a:rPr>
                <a:t>Power balance 2014</a:t>
              </a:r>
            </a:p>
          </p:txBody>
        </p:sp>
        <p:sp>
          <p:nvSpPr>
            <p:cNvPr id="14" name="Rectangle 4"/>
            <p:cNvSpPr txBox="1">
              <a:spLocks/>
            </p:cNvSpPr>
            <p:nvPr/>
          </p:nvSpPr>
          <p:spPr bwMode="auto">
            <a:xfrm>
              <a:off x="4981385" y="5590146"/>
              <a:ext cx="3443044" cy="3600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86393" tIns="43196" rIns="86393" bIns="43196" numCol="1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323" b="1" dirty="0">
                  <a:solidFill>
                    <a:srgbClr val="008BD2"/>
                  </a:solidFill>
                  <a:uFill>
                    <a:solidFill>
                      <a:prstClr val="black"/>
                    </a:solidFill>
                  </a:uFill>
                  <a:cs typeface="Arial" charset="0"/>
                </a:rPr>
                <a:t>Power balance 2024</a:t>
              </a:r>
            </a:p>
          </p:txBody>
        </p:sp>
        <p:grpSp>
          <p:nvGrpSpPr>
            <p:cNvPr id="11" name="Gruppieren 10"/>
            <p:cNvGrpSpPr/>
            <p:nvPr/>
          </p:nvGrpSpPr>
          <p:grpSpPr>
            <a:xfrm>
              <a:off x="359532" y="1484784"/>
              <a:ext cx="8329613" cy="4202112"/>
              <a:chOff x="228600" y="1747838"/>
              <a:chExt cx="8329613" cy="4202112"/>
            </a:xfrm>
          </p:grpSpPr>
          <p:pic>
            <p:nvPicPr>
              <p:cNvPr id="12" name="Picture 20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8600" y="1747838"/>
                <a:ext cx="8329613" cy="42021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" name="Picture 9" descr="C:\Users\613Pd\Desktop\Leistungsbilanz 2024 NNF8238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59338" y="2060575"/>
                <a:ext cx="3313112" cy="3429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Textfeld 184"/>
              <p:cNvSpPr txBox="1">
                <a:spLocks noChangeArrowheads="1"/>
              </p:cNvSpPr>
              <p:nvPr/>
            </p:nvSpPr>
            <p:spPr bwMode="auto">
              <a:xfrm>
                <a:off x="4665930" y="5395877"/>
                <a:ext cx="184526" cy="28643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/>
            </p:spPr>
            <p:txBody>
              <a:bodyPr wrap="none" lIns="86305" tIns="43153" rIns="86305" bIns="43153">
                <a:spAutoFit/>
              </a:bodyPr>
              <a:lstStyle>
                <a:lvl1pPr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defTabSz="9128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defTabSz="9128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defTabSz="9128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defTabSz="9128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altLang="de-DE" sz="1512" b="1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17" name="Textfeld 180"/>
              <p:cNvSpPr txBox="1">
                <a:spLocks noChangeArrowheads="1"/>
              </p:cNvSpPr>
              <p:nvPr/>
            </p:nvSpPr>
            <p:spPr bwMode="auto">
              <a:xfrm>
                <a:off x="357875" y="5395877"/>
                <a:ext cx="3962736" cy="3365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/>
            </p:spPr>
            <p:txBody>
              <a:bodyPr wrap="none" lIns="86305" tIns="43153" rIns="86305" bIns="43153">
                <a:noAutofit/>
              </a:bodyPr>
              <a:lstStyle>
                <a:lvl1pPr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 defTabSz="912813"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defTabSz="9128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defTabSz="9128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defTabSz="9128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defTabSz="912813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512" b="1" dirty="0">
                    <a:solidFill>
                      <a:prstClr val="white"/>
                    </a:solidFill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[MW]</a:t>
                </a:r>
              </a:p>
            </p:txBody>
          </p:sp>
        </p:grpSp>
        <p:sp>
          <p:nvSpPr>
            <p:cNvPr id="18" name="Textfeld 180"/>
            <p:cNvSpPr txBox="1">
              <a:spLocks noChangeArrowheads="1"/>
            </p:cNvSpPr>
            <p:nvPr/>
          </p:nvSpPr>
          <p:spPr bwMode="auto">
            <a:xfrm>
              <a:off x="4570245" y="5226521"/>
              <a:ext cx="3962736" cy="2269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lIns="86305" tIns="43153" rIns="86305" bIns="43153">
              <a:noAutofit/>
            </a:bodyPr>
            <a:lstStyle>
              <a:lvl1pPr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912813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912813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912813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912813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512" b="1" dirty="0">
                  <a:solidFill>
                    <a:prstClr val="white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[MW]</a:t>
              </a:r>
            </a:p>
          </p:txBody>
        </p:sp>
        <p:sp>
          <p:nvSpPr>
            <p:cNvPr id="2" name="Pfeil nach rechts 1"/>
            <p:cNvSpPr/>
            <p:nvPr/>
          </p:nvSpPr>
          <p:spPr>
            <a:xfrm>
              <a:off x="3923928" y="3334972"/>
              <a:ext cx="979364" cy="1138144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2050" tIns="102050" rIns="102050" bIns="1020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ts val="567"/>
                </a:spcBef>
              </a:pPr>
              <a:r>
                <a:rPr lang="de-DE" sz="1607" dirty="0">
                  <a:solidFill>
                    <a:srgbClr val="6E6E6E"/>
                  </a:solidFill>
                </a:rPr>
                <a:t>2014-2024</a:t>
              </a:r>
            </a:p>
          </p:txBody>
        </p:sp>
        <p:sp>
          <p:nvSpPr>
            <p:cNvPr id="19" name="Textfeld 180"/>
            <p:cNvSpPr txBox="1">
              <a:spLocks noChangeArrowheads="1"/>
            </p:cNvSpPr>
            <p:nvPr/>
          </p:nvSpPr>
          <p:spPr bwMode="auto">
            <a:xfrm>
              <a:off x="4722645" y="1556792"/>
              <a:ext cx="3580737" cy="3600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lIns="86305" tIns="43153" rIns="86305" bIns="43153">
              <a:noAutofit/>
            </a:bodyPr>
            <a:lstStyle>
              <a:lvl1pPr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defTabSz="912813">
                <a:defRPr sz="20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defTabSz="912813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defTabSz="912813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defTabSz="912813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defTabSz="912813" eaLnBrk="0" fontAlgn="base" hangingPunct="0">
                <a:spcBef>
                  <a:spcPct val="5000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512" b="1" dirty="0">
                  <a:solidFill>
                    <a:prstClr val="white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[MW]</a:t>
              </a:r>
            </a:p>
          </p:txBody>
        </p:sp>
      </p:grpSp>
      <p:sp>
        <p:nvSpPr>
          <p:cNvPr id="36" name="Titel 35"/>
          <p:cNvSpPr>
            <a:spLocks noGrp="1"/>
          </p:cNvSpPr>
          <p:nvPr>
            <p:ph type="title"/>
          </p:nvPr>
        </p:nvSpPr>
        <p:spPr>
          <a:xfrm>
            <a:off x="656028" y="284400"/>
            <a:ext cx="10205157" cy="425265"/>
          </a:xfrm>
        </p:spPr>
        <p:txBody>
          <a:bodyPr/>
          <a:lstStyle/>
          <a:p>
            <a:r>
              <a:rPr lang="en-US" dirty="0" smtClean="0"/>
              <a:t>Changing Power Structure</a:t>
            </a:r>
            <a:endParaRPr lang="en-GB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7"/>
          </p:nvPr>
        </p:nvSpPr>
        <p:spPr>
          <a:xfrm>
            <a:off x="656028" y="5650131"/>
            <a:ext cx="10205157" cy="255007"/>
          </a:xfrm>
        </p:spPr>
        <p:txBody>
          <a:bodyPr/>
          <a:lstStyle/>
          <a:p>
            <a:r>
              <a:rPr lang="en-GB" dirty="0" smtClean="0"/>
              <a:t>Source: </a:t>
            </a:r>
            <a:r>
              <a:rPr lang="en-GB" dirty="0" err="1" smtClean="0"/>
              <a:t>Bundesnetzagentur</a:t>
            </a:r>
            <a:r>
              <a:rPr lang="en-GB" dirty="0" smtClean="0"/>
              <a:t>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16106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541400"/>
            <a:ext cx="7020493" cy="1078687"/>
          </a:xfrm>
        </p:spPr>
        <p:txBody>
          <a:bodyPr/>
          <a:lstStyle/>
          <a:p>
            <a:r>
              <a:rPr lang="en-US" dirty="0"/>
              <a:t>Smart Meter </a:t>
            </a:r>
            <a:r>
              <a:rPr lang="en-US" dirty="0" smtClean="0"/>
              <a:t>Roll-Out</a:t>
            </a:r>
            <a:r>
              <a:rPr lang="en-US" dirty="0"/>
              <a:t/>
            </a:r>
            <a:br>
              <a:rPr lang="en-US" dirty="0"/>
            </a:br>
            <a:r>
              <a:rPr lang="en-US" sz="2500" dirty="0" smtClean="0"/>
              <a:t>– </a:t>
            </a:r>
            <a:r>
              <a:rPr lang="en-US" sz="2500" dirty="0"/>
              <a:t>a chance for innovative technologies, new business models &amp; flexible tariffs</a:t>
            </a:r>
            <a:endParaRPr lang="de-DE" sz="25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 err="1"/>
              <a:t>Bitkom</a:t>
            </a:r>
            <a:r>
              <a:rPr lang="en-US" dirty="0"/>
              <a:t>, </a:t>
            </a:r>
            <a:r>
              <a:rPr lang="en-US" dirty="0" smtClean="0"/>
              <a:t>2020</a:t>
            </a:r>
            <a:endParaRPr lang="en-US" dirty="0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50" r="5450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Diagrammplatzhalter 8"/>
          <p:cNvGraphicFramePr>
            <a:graphicFrameLocks noGrp="1"/>
          </p:cNvGraphicFramePr>
          <p:nvPr>
            <p:ph idx="1"/>
            <p:extLst/>
          </p:nvPr>
        </p:nvGraphicFramePr>
        <p:xfrm>
          <a:off x="520780" y="2135531"/>
          <a:ext cx="7019925" cy="3959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hteck 10"/>
          <p:cNvSpPr/>
          <p:nvPr/>
        </p:nvSpPr>
        <p:spPr>
          <a:xfrm>
            <a:off x="5220244" y="4567663"/>
            <a:ext cx="974947" cy="6740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00000"/>
              </a:lnSpc>
            </a:pPr>
            <a:r>
              <a:rPr lang="en-US" sz="3780" b="1" dirty="0">
                <a:solidFill>
                  <a:srgbClr val="008BD2"/>
                </a:solidFill>
              </a:rPr>
              <a:t>62</a:t>
            </a:r>
            <a:r>
              <a:rPr lang="en-US" sz="3024" b="1" dirty="0">
                <a:solidFill>
                  <a:srgbClr val="008BD2"/>
                </a:solidFill>
              </a:rPr>
              <a:t> </a:t>
            </a:r>
            <a:r>
              <a:rPr lang="en-US" sz="2268" b="1" dirty="0">
                <a:solidFill>
                  <a:srgbClr val="008BD2"/>
                </a:solidFill>
              </a:rPr>
              <a:t>%</a:t>
            </a:r>
          </a:p>
        </p:txBody>
      </p:sp>
      <p:sp>
        <p:nvSpPr>
          <p:cNvPr id="12" name="Rechteck 11"/>
          <p:cNvSpPr/>
          <p:nvPr/>
        </p:nvSpPr>
        <p:spPr>
          <a:xfrm>
            <a:off x="1800244" y="2474919"/>
            <a:ext cx="723275" cy="4994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00000"/>
              </a:lnSpc>
            </a:pPr>
            <a:r>
              <a:rPr lang="en-US" sz="2646" b="1" dirty="0">
                <a:solidFill>
                  <a:schemeClr val="accent1"/>
                </a:solidFill>
              </a:rPr>
              <a:t>22</a:t>
            </a:r>
            <a:r>
              <a:rPr lang="en-US" sz="1890" b="1" dirty="0">
                <a:solidFill>
                  <a:schemeClr val="accent1"/>
                </a:solidFill>
              </a:rPr>
              <a:t> </a:t>
            </a:r>
            <a:r>
              <a:rPr lang="en-US" sz="1512" b="1" dirty="0">
                <a:solidFill>
                  <a:schemeClr val="accent1"/>
                </a:solidFill>
              </a:rPr>
              <a:t>%</a:t>
            </a:r>
          </a:p>
        </p:txBody>
      </p:sp>
      <p:sp>
        <p:nvSpPr>
          <p:cNvPr id="15" name="Textplatzhalter 3"/>
          <p:cNvSpPr txBox="1">
            <a:spLocks/>
          </p:cNvSpPr>
          <p:nvPr/>
        </p:nvSpPr>
        <p:spPr bwMode="gray">
          <a:xfrm>
            <a:off x="520780" y="1629670"/>
            <a:ext cx="6319449" cy="647990"/>
          </a:xfrm>
          <a:prstGeom prst="rect">
            <a:avLst/>
          </a:prstGeom>
          <a:blipFill dpi="0" rotWithShape="1">
            <a:blip r:embed="rId4"/>
            <a:srcRect/>
            <a:tile tx="0" ty="50800" sx="100000" sy="100000" flip="none" algn="b"/>
          </a:blipFill>
        </p:spPr>
        <p:txBody>
          <a:bodyPr vert="horz" lIns="0" tIns="432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None/>
              <a:defRPr sz="1300" kern="6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7000"/>
              </a:lnSpc>
              <a:spcBef>
                <a:spcPts val="400"/>
              </a:spcBef>
              <a:spcAft>
                <a:spcPts val="0"/>
              </a:spcAft>
              <a:buFont typeface="Calibri" panose="020F0502020204030204" pitchFamily="34" charset="0"/>
              <a:buChar char="–"/>
              <a:defRPr sz="1700" kern="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2000"/>
              </a:spcBef>
              <a:buFont typeface="Arial" panose="020B0604020202020204" pitchFamily="34" charset="0"/>
              <a:buNone/>
              <a:defRPr sz="1700" b="1" kern="6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1" kern="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500" b="1" kern="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300" kern="6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ustomer </a:t>
            </a:r>
            <a:r>
              <a:rPr lang="en-US" dirty="0"/>
              <a:t>approval for flexible tariffs</a:t>
            </a:r>
          </a:p>
          <a:p>
            <a:r>
              <a:rPr lang="en-US" b="0" dirty="0"/>
              <a:t>In % of respondents in Germany, 2019</a:t>
            </a:r>
          </a:p>
        </p:txBody>
      </p:sp>
    </p:spTree>
    <p:extLst>
      <p:ext uri="{BB962C8B-B14F-4D97-AF65-F5344CB8AC3E}">
        <p14:creationId xmlns:p14="http://schemas.microsoft.com/office/powerpoint/2010/main" val="2642533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 smtClean="0"/>
              <a:t>Source: IEA </a:t>
            </a:r>
            <a:r>
              <a:rPr lang="de-DE" dirty="0"/>
              <a:t>2018, </a:t>
            </a:r>
            <a:r>
              <a:rPr lang="de-DE" dirty="0" smtClean="0"/>
              <a:t>2019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Growth in the EV market causes demand for charging stations – potentially equipped with batteries and smart grid technologies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2020: </a:t>
            </a:r>
            <a:r>
              <a:rPr lang="de-DE" dirty="0"/>
              <a:t>EV </a:t>
            </a:r>
            <a:r>
              <a:rPr lang="de-DE" dirty="0" smtClean="0"/>
              <a:t>Market Takes Off - </a:t>
            </a:r>
            <a:br>
              <a:rPr lang="de-DE" dirty="0" smtClean="0"/>
            </a:br>
            <a:r>
              <a:rPr lang="de-DE" dirty="0" err="1" smtClean="0"/>
              <a:t>Charging</a:t>
            </a:r>
            <a:r>
              <a:rPr lang="de-DE" dirty="0" smtClean="0"/>
              <a:t> Infrastructure </a:t>
            </a:r>
            <a:r>
              <a:rPr lang="de-DE" dirty="0" err="1" smtClean="0"/>
              <a:t>Following</a:t>
            </a:r>
            <a:endParaRPr lang="de-DE" dirty="0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sz="quarter" idx="11"/>
            <p:extLst/>
          </p:nvPr>
        </p:nvGraphicFramePr>
        <p:xfrm>
          <a:off x="539750" y="2277660"/>
          <a:ext cx="6119813" cy="3481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platzhalter 3"/>
          <p:cNvSpPr txBox="1">
            <a:spLocks/>
          </p:cNvSpPr>
          <p:nvPr/>
        </p:nvSpPr>
        <p:spPr bwMode="gray">
          <a:xfrm>
            <a:off x="520780" y="1629670"/>
            <a:ext cx="6319449" cy="647990"/>
          </a:xfrm>
          <a:prstGeom prst="rect">
            <a:avLst/>
          </a:prstGeom>
          <a:blipFill dpi="0" rotWithShape="1">
            <a:blip r:embed="rId3"/>
            <a:srcRect/>
            <a:tile tx="0" ty="50800" sx="100000" sy="100000" flip="none" algn="b"/>
          </a:blipFill>
        </p:spPr>
        <p:txBody>
          <a:bodyPr vert="horz" lIns="0" tIns="432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None/>
              <a:defRPr sz="1300" kern="6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7000"/>
              </a:lnSpc>
              <a:spcBef>
                <a:spcPts val="400"/>
              </a:spcBef>
              <a:spcAft>
                <a:spcPts val="0"/>
              </a:spcAft>
              <a:buFont typeface="Calibri" panose="020F0502020204030204" pitchFamily="34" charset="0"/>
              <a:buChar char="–"/>
              <a:defRPr sz="1700" kern="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7000"/>
              </a:lnSpc>
              <a:spcBef>
                <a:spcPts val="2000"/>
              </a:spcBef>
              <a:buFont typeface="Arial" panose="020B0604020202020204" pitchFamily="34" charset="0"/>
              <a:buNone/>
              <a:defRPr sz="1700" b="1" kern="6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1" kern="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500" b="1" kern="6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300" kern="6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lectric vehicles (PHEV + BEV) vs. public charging stations</a:t>
            </a:r>
          </a:p>
          <a:p>
            <a:r>
              <a:rPr lang="en-US" b="0" dirty="0"/>
              <a:t>(Number of units, 2011 – 2020</a:t>
            </a:r>
            <a:r>
              <a:rPr lang="en-US" b="0" dirty="0">
                <a:latin typeface="Cambria"/>
              </a:rPr>
              <a:t>)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124583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rmany’s </a:t>
            </a:r>
            <a:r>
              <a:rPr lang="en-US" dirty="0"/>
              <a:t>Energy Market Will Look Different </a:t>
            </a:r>
            <a:r>
              <a:rPr lang="en-US" dirty="0" smtClean="0"/>
              <a:t>By 2035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BNetzA</a:t>
            </a:r>
            <a:r>
              <a:rPr lang="en-US" dirty="0"/>
              <a:t>, </a:t>
            </a:r>
            <a:r>
              <a:rPr lang="en-US" dirty="0" smtClean="0"/>
              <a:t>2021</a:t>
            </a:r>
            <a:r>
              <a:rPr lang="en-US" dirty="0"/>
              <a:t>* Prognosis Scenario B </a:t>
            </a:r>
            <a:r>
              <a:rPr lang="en-US" dirty="0" err="1" smtClean="0"/>
              <a:t>Netzentwicklungsplan</a:t>
            </a:r>
            <a:r>
              <a:rPr lang="en-US" dirty="0" smtClean="0"/>
              <a:t>,**PV </a:t>
            </a:r>
            <a:r>
              <a:rPr lang="en-US" dirty="0"/>
              <a:t>&amp; industrial battery storage </a:t>
            </a:r>
            <a:r>
              <a:rPr lang="en-US" dirty="0" smtClean="0"/>
              <a:t>systems. Graph</a:t>
            </a:r>
            <a:r>
              <a:rPr lang="en-US" dirty="0"/>
              <a:t>: </a:t>
            </a:r>
            <a:r>
              <a:rPr lang="en-US" dirty="0" smtClean="0"/>
              <a:t>GTAI</a:t>
            </a:r>
            <a:endParaRPr lang="en-US" dirty="0"/>
          </a:p>
        </p:txBody>
      </p:sp>
      <p:grpSp>
        <p:nvGrpSpPr>
          <p:cNvPr id="37" name="Gruppieren 36"/>
          <p:cNvGrpSpPr/>
          <p:nvPr/>
        </p:nvGrpSpPr>
        <p:grpSpPr>
          <a:xfrm>
            <a:off x="752124" y="3745376"/>
            <a:ext cx="2106787" cy="1707539"/>
            <a:chOff x="6300244" y="1548125"/>
            <a:chExt cx="2106787" cy="1707539"/>
          </a:xfrm>
        </p:grpSpPr>
        <p:sp>
          <p:nvSpPr>
            <p:cNvPr id="4" name="Rechteck 3"/>
            <p:cNvSpPr/>
            <p:nvPr/>
          </p:nvSpPr>
          <p:spPr>
            <a:xfrm>
              <a:off x="7070739" y="1548125"/>
              <a:ext cx="692818" cy="388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2035*</a:t>
              </a:r>
              <a:r>
                <a:rPr lang="en-US" sz="1800" dirty="0" smtClean="0">
                  <a:solidFill>
                    <a:schemeClr val="tx2"/>
                  </a:solidFill>
                </a:rPr>
                <a:t> 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5" name="Rechteck 4"/>
            <p:cNvSpPr/>
            <p:nvPr/>
          </p:nvSpPr>
          <p:spPr>
            <a:xfrm>
              <a:off x="6510437" y="1730097"/>
              <a:ext cx="603050" cy="388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chemeClr val="accent5"/>
                  </a:solidFill>
                </a:rPr>
                <a:t>2020</a:t>
              </a:r>
              <a:r>
                <a:rPr lang="en-US" sz="1800" dirty="0" smtClean="0">
                  <a:solidFill>
                    <a:schemeClr val="accent1"/>
                  </a:solidFill>
                </a:rPr>
                <a:t> </a:t>
              </a:r>
              <a:endParaRPr lang="en-US" sz="1600" dirty="0">
                <a:solidFill>
                  <a:schemeClr val="accent1"/>
                </a:solidFill>
              </a:endParaRPr>
            </a:p>
          </p:txBody>
        </p:sp>
        <p:sp>
          <p:nvSpPr>
            <p:cNvPr id="6" name="Rechteck 5"/>
            <p:cNvSpPr/>
            <p:nvPr/>
          </p:nvSpPr>
          <p:spPr>
            <a:xfrm>
              <a:off x="6300244" y="2609333"/>
              <a:ext cx="210678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800" b="1" kern="1200" dirty="0">
                  <a:solidFill>
                    <a:schemeClr val="accent5"/>
                  </a:solidFill>
                </a:rPr>
                <a:t>Million </a:t>
              </a:r>
            </a:p>
            <a:p>
              <a:pPr algn="ctr">
                <a:lnSpc>
                  <a:spcPct val="100000"/>
                </a:lnSpc>
              </a:pPr>
              <a:r>
                <a:rPr lang="en-US" sz="1800" b="1" kern="1200" dirty="0">
                  <a:solidFill>
                    <a:schemeClr val="accent5"/>
                  </a:solidFill>
                </a:rPr>
                <a:t>Heat pumps</a:t>
              </a:r>
            </a:p>
          </p:txBody>
        </p:sp>
        <p:sp>
          <p:nvSpPr>
            <p:cNvPr id="8" name="Ellipse 7"/>
            <p:cNvSpPr>
              <a:spLocks noChangeAspect="1"/>
            </p:cNvSpPr>
            <p:nvPr/>
          </p:nvSpPr>
          <p:spPr>
            <a:xfrm>
              <a:off x="6970179" y="1883570"/>
              <a:ext cx="766917" cy="766143"/>
            </a:xfrm>
            <a:prstGeom prst="ellipse">
              <a:avLst/>
            </a:prstGeom>
            <a:gradFill>
              <a:gsLst>
                <a:gs pos="5000">
                  <a:srgbClr val="0059A3">
                    <a:lumMod val="90000"/>
                    <a:lumOff val="10000"/>
                  </a:srgbClr>
                </a:gs>
                <a:gs pos="30000">
                  <a:srgbClr val="008BD2"/>
                </a:gs>
                <a:gs pos="85000">
                  <a:srgbClr val="5BC5F2"/>
                </a:gs>
              </a:gsLst>
              <a:lin ang="192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/>
              <a:r>
                <a:rPr lang="en-US" sz="3200" b="1" dirty="0" smtClean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9" name="Ellipse 8"/>
            <p:cNvSpPr>
              <a:spLocks noChangeAspect="1"/>
            </p:cNvSpPr>
            <p:nvPr/>
          </p:nvSpPr>
          <p:spPr>
            <a:xfrm>
              <a:off x="6533298" y="2068325"/>
              <a:ext cx="479875" cy="479072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 defTabSz="1151830"/>
              <a:r>
                <a:rPr lang="en-US" sz="1600" b="1" dirty="0">
                  <a:solidFill>
                    <a:schemeClr val="bg1"/>
                  </a:solidFill>
                  <a:latin typeface="Cambria"/>
                </a:rPr>
                <a:t>1.1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3383749" y="1499197"/>
            <a:ext cx="2170801" cy="2342653"/>
            <a:chOff x="8920452" y="2346515"/>
            <a:chExt cx="2170801" cy="2342653"/>
          </a:xfrm>
        </p:grpSpPr>
        <p:sp>
          <p:nvSpPr>
            <p:cNvPr id="7" name="Rechteck 6"/>
            <p:cNvSpPr/>
            <p:nvPr/>
          </p:nvSpPr>
          <p:spPr>
            <a:xfrm>
              <a:off x="8920452" y="4042837"/>
              <a:ext cx="217080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lang="en-US" sz="1800" b="1" kern="1200" dirty="0">
                  <a:solidFill>
                    <a:schemeClr val="accent5"/>
                  </a:solidFill>
                </a:rPr>
                <a:t>Million </a:t>
              </a:r>
            </a:p>
            <a:p>
              <a:pPr lvl="0" algn="ctr">
                <a:lnSpc>
                  <a:spcPct val="100000"/>
                </a:lnSpc>
              </a:pPr>
              <a:r>
                <a:rPr lang="en-US" sz="1800" b="1" kern="1200" dirty="0">
                  <a:solidFill>
                    <a:schemeClr val="accent5"/>
                  </a:solidFill>
                </a:rPr>
                <a:t>Electric Vehicles</a:t>
              </a:r>
            </a:p>
          </p:txBody>
        </p:sp>
        <p:sp>
          <p:nvSpPr>
            <p:cNvPr id="10" name="Ellipse 9"/>
            <p:cNvSpPr>
              <a:spLocks noChangeAspect="1"/>
            </p:cNvSpPr>
            <p:nvPr/>
          </p:nvSpPr>
          <p:spPr>
            <a:xfrm>
              <a:off x="9436074" y="2675937"/>
              <a:ext cx="1351873" cy="1350512"/>
            </a:xfrm>
            <a:prstGeom prst="ellipse">
              <a:avLst/>
            </a:prstGeom>
            <a:gradFill>
              <a:gsLst>
                <a:gs pos="5000">
                  <a:srgbClr val="0059A3">
                    <a:lumMod val="90000"/>
                    <a:lumOff val="10000"/>
                  </a:srgbClr>
                </a:gs>
                <a:gs pos="30000">
                  <a:srgbClr val="008BD2"/>
                </a:gs>
                <a:gs pos="85000">
                  <a:srgbClr val="5BC5F2"/>
                </a:gs>
              </a:gsLst>
              <a:lin ang="192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/>
              <a:r>
                <a:rPr lang="en-US" sz="4400" b="1" dirty="0" smtClean="0">
                  <a:solidFill>
                    <a:schemeClr val="bg1"/>
                  </a:solidFill>
                </a:rPr>
                <a:t>12</a:t>
              </a:r>
            </a:p>
          </p:txBody>
        </p:sp>
        <p:sp>
          <p:nvSpPr>
            <p:cNvPr id="11" name="Ellipse 10"/>
            <p:cNvSpPr>
              <a:spLocks noChangeAspect="1"/>
            </p:cNvSpPr>
            <p:nvPr/>
          </p:nvSpPr>
          <p:spPr>
            <a:xfrm>
              <a:off x="9090351" y="3377352"/>
              <a:ext cx="396000" cy="395336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 defTabSz="1151830"/>
              <a:r>
                <a:rPr lang="en-US" sz="1400" b="1" dirty="0">
                  <a:solidFill>
                    <a:schemeClr val="bg1"/>
                  </a:solidFill>
                  <a:latin typeface="Cambria"/>
                </a:rPr>
                <a:t>0.7</a:t>
              </a:r>
              <a:endParaRPr lang="en-US" sz="1600" b="1" dirty="0">
                <a:solidFill>
                  <a:schemeClr val="bg1"/>
                </a:solidFill>
                <a:latin typeface="Cambria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9765601" y="2346515"/>
              <a:ext cx="692818" cy="388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2035*</a:t>
              </a:r>
              <a:r>
                <a:rPr lang="en-US" sz="1800" dirty="0" smtClean="0">
                  <a:solidFill>
                    <a:schemeClr val="tx2"/>
                  </a:solidFill>
                </a:rPr>
                <a:t> 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8920452" y="3035496"/>
              <a:ext cx="603050" cy="388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chemeClr val="accent5"/>
                  </a:solidFill>
                </a:rPr>
                <a:t>2020</a:t>
              </a:r>
              <a:r>
                <a:rPr lang="en-US" sz="1800" dirty="0" smtClean="0">
                  <a:solidFill>
                    <a:schemeClr val="accent1"/>
                  </a:solidFill>
                </a:rPr>
                <a:t> </a:t>
              </a:r>
              <a:endParaRPr lang="en-US" sz="16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40" name="Gruppieren 39"/>
          <p:cNvGrpSpPr/>
          <p:nvPr/>
        </p:nvGrpSpPr>
        <p:grpSpPr>
          <a:xfrm>
            <a:off x="4663742" y="3444365"/>
            <a:ext cx="2696482" cy="2315085"/>
            <a:chOff x="6123762" y="3454227"/>
            <a:chExt cx="2696482" cy="2315085"/>
          </a:xfrm>
        </p:grpSpPr>
        <p:sp>
          <p:nvSpPr>
            <p:cNvPr id="16" name="Ellipse 15"/>
            <p:cNvSpPr>
              <a:spLocks noChangeAspect="1"/>
            </p:cNvSpPr>
            <p:nvPr/>
          </p:nvSpPr>
          <p:spPr>
            <a:xfrm>
              <a:off x="6299908" y="4476935"/>
              <a:ext cx="564471" cy="563525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 defTabSz="1151830"/>
              <a:r>
                <a:rPr lang="en-US" sz="1400" b="1" dirty="0">
                  <a:solidFill>
                    <a:schemeClr val="bg1"/>
                  </a:solidFill>
                  <a:latin typeface="Cambria"/>
                </a:rPr>
                <a:t>0.04</a:t>
              </a:r>
            </a:p>
          </p:txBody>
        </p:sp>
        <p:grpSp>
          <p:nvGrpSpPr>
            <p:cNvPr id="39" name="Gruppieren 38"/>
            <p:cNvGrpSpPr/>
            <p:nvPr/>
          </p:nvGrpSpPr>
          <p:grpSpPr>
            <a:xfrm>
              <a:off x="6123762" y="3454227"/>
              <a:ext cx="2696482" cy="2315085"/>
              <a:chOff x="6123762" y="3454227"/>
              <a:chExt cx="2696482" cy="2315085"/>
            </a:xfrm>
          </p:grpSpPr>
          <p:sp>
            <p:nvSpPr>
              <p:cNvPr id="14" name="Rechteck 13"/>
              <p:cNvSpPr/>
              <p:nvPr/>
            </p:nvSpPr>
            <p:spPr>
              <a:xfrm>
                <a:off x="6123762" y="5122981"/>
                <a:ext cx="269648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>
                  <a:lnSpc>
                    <a:spcPct val="100000"/>
                  </a:lnSpc>
                </a:pPr>
                <a:r>
                  <a:rPr lang="en-US" sz="1800" b="1" kern="1200" dirty="0">
                    <a:solidFill>
                      <a:schemeClr val="accent5"/>
                    </a:solidFill>
                  </a:rPr>
                  <a:t>Million </a:t>
                </a:r>
              </a:p>
              <a:p>
                <a:pPr lvl="0" algn="ctr">
                  <a:lnSpc>
                    <a:spcPct val="100000"/>
                  </a:lnSpc>
                </a:pPr>
                <a:r>
                  <a:rPr lang="en-US" sz="1800" b="1" kern="1200" dirty="0">
                    <a:solidFill>
                      <a:schemeClr val="accent5"/>
                    </a:solidFill>
                  </a:rPr>
                  <a:t>EV Charging Stations</a:t>
                </a:r>
              </a:p>
            </p:txBody>
          </p:sp>
          <p:sp>
            <p:nvSpPr>
              <p:cNvPr id="15" name="Ellipse 14"/>
              <p:cNvSpPr>
                <a:spLocks noChangeAspect="1"/>
              </p:cNvSpPr>
              <p:nvPr/>
            </p:nvSpPr>
            <p:spPr>
              <a:xfrm>
                <a:off x="6796412" y="3804431"/>
                <a:ext cx="1351873" cy="1350512"/>
              </a:xfrm>
              <a:prstGeom prst="ellipse">
                <a:avLst/>
              </a:prstGeom>
              <a:gradFill>
                <a:gsLst>
                  <a:gs pos="5000">
                    <a:srgbClr val="0059A3">
                      <a:lumMod val="90000"/>
                      <a:lumOff val="10000"/>
                    </a:srgbClr>
                  </a:gs>
                  <a:gs pos="30000">
                    <a:srgbClr val="008BD2"/>
                  </a:gs>
                  <a:gs pos="85000">
                    <a:srgbClr val="5BC5F2"/>
                  </a:gs>
                </a:gsLst>
                <a:lin ang="19200000" scaled="0"/>
              </a:gra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6" algn="ctr"/>
                <a:r>
                  <a:rPr lang="en-US" sz="4400" b="1" dirty="0" smtClean="0">
                    <a:solidFill>
                      <a:schemeClr val="bg1"/>
                    </a:solidFill>
                  </a:rPr>
                  <a:t>&gt;1</a:t>
                </a:r>
              </a:p>
            </p:txBody>
          </p:sp>
          <p:sp>
            <p:nvSpPr>
              <p:cNvPr id="17" name="Rechteck 16"/>
              <p:cNvSpPr/>
              <p:nvPr/>
            </p:nvSpPr>
            <p:spPr>
              <a:xfrm>
                <a:off x="7125594" y="3454227"/>
                <a:ext cx="692818" cy="3886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 smtClean="0">
                    <a:solidFill>
                      <a:schemeClr val="tx2"/>
                    </a:solidFill>
                  </a:rPr>
                  <a:t>2035*</a:t>
                </a:r>
                <a:r>
                  <a:rPr lang="en-US" sz="1800" dirty="0" smtClean="0">
                    <a:solidFill>
                      <a:schemeClr val="tx2"/>
                    </a:solidFill>
                  </a:rPr>
                  <a:t> </a:t>
                </a:r>
                <a:endParaRPr lang="en-US" sz="16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8" name="Rechteck 17"/>
              <p:cNvSpPr/>
              <p:nvPr/>
            </p:nvSpPr>
            <p:spPr>
              <a:xfrm>
                <a:off x="6298307" y="4147026"/>
                <a:ext cx="603050" cy="38869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dirty="0">
                    <a:solidFill>
                      <a:schemeClr val="accent5"/>
                    </a:solidFill>
                  </a:rPr>
                  <a:t>2020</a:t>
                </a:r>
                <a:r>
                  <a:rPr lang="en-US" sz="1800" dirty="0" smtClean="0">
                    <a:solidFill>
                      <a:schemeClr val="accent1"/>
                    </a:solidFill>
                  </a:rPr>
                  <a:t> </a:t>
                </a:r>
                <a:endParaRPr lang="en-US" sz="1600" dirty="0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34" name="Gruppieren 33"/>
          <p:cNvGrpSpPr/>
          <p:nvPr/>
        </p:nvGrpSpPr>
        <p:grpSpPr>
          <a:xfrm>
            <a:off x="251424" y="1576362"/>
            <a:ext cx="2323372" cy="1713743"/>
            <a:chOff x="251424" y="1576362"/>
            <a:chExt cx="2323372" cy="1713743"/>
          </a:xfrm>
        </p:grpSpPr>
        <p:sp>
          <p:nvSpPr>
            <p:cNvPr id="27" name="Rechteck 26"/>
            <p:cNvSpPr/>
            <p:nvPr/>
          </p:nvSpPr>
          <p:spPr>
            <a:xfrm>
              <a:off x="1213048" y="1576362"/>
              <a:ext cx="692818" cy="388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2035*</a:t>
              </a:r>
              <a:r>
                <a:rPr lang="en-US" sz="1800" dirty="0" smtClean="0">
                  <a:solidFill>
                    <a:schemeClr val="tx2"/>
                  </a:solidFill>
                </a:rPr>
                <a:t> 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686856" y="1730097"/>
              <a:ext cx="603050" cy="388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chemeClr val="accent5"/>
                  </a:solidFill>
                </a:rPr>
                <a:t>2020</a:t>
              </a:r>
              <a:r>
                <a:rPr lang="en-US" sz="1800" dirty="0" smtClean="0">
                  <a:solidFill>
                    <a:schemeClr val="accent5"/>
                  </a:solidFill>
                </a:rPr>
                <a:t> </a:t>
              </a:r>
              <a:endParaRPr lang="en-US" sz="1600" dirty="0">
                <a:solidFill>
                  <a:schemeClr val="accent5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251424" y="2643774"/>
              <a:ext cx="232337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lang="en-US" sz="1800" b="1" kern="1200" dirty="0" smtClean="0">
                  <a:solidFill>
                    <a:schemeClr val="accent5"/>
                  </a:solidFill>
                </a:rPr>
                <a:t>Renewable share of electricity </a:t>
              </a:r>
              <a:r>
                <a:rPr lang="en-US" sz="1800" b="1" kern="1200" dirty="0">
                  <a:solidFill>
                    <a:schemeClr val="accent5"/>
                  </a:solidFill>
                </a:rPr>
                <a:t>in </a:t>
              </a:r>
              <a:r>
                <a:rPr lang="en-US" sz="1800" b="1" kern="1200" dirty="0" smtClean="0">
                  <a:solidFill>
                    <a:schemeClr val="accent5"/>
                  </a:solidFill>
                </a:rPr>
                <a:t>%</a:t>
              </a:r>
              <a:endParaRPr lang="en-US" sz="1800" b="1" kern="1200" dirty="0">
                <a:solidFill>
                  <a:schemeClr val="accent5"/>
                </a:solidFill>
              </a:endParaRPr>
            </a:p>
          </p:txBody>
        </p:sp>
        <p:sp>
          <p:nvSpPr>
            <p:cNvPr id="30" name="Ellipse 29"/>
            <p:cNvSpPr>
              <a:spLocks noChangeAspect="1"/>
            </p:cNvSpPr>
            <p:nvPr/>
          </p:nvSpPr>
          <p:spPr>
            <a:xfrm>
              <a:off x="1161082" y="1898039"/>
              <a:ext cx="737950" cy="737206"/>
            </a:xfrm>
            <a:prstGeom prst="ellipse">
              <a:avLst/>
            </a:prstGeom>
            <a:gradFill>
              <a:gsLst>
                <a:gs pos="5000">
                  <a:srgbClr val="0059A3">
                    <a:lumMod val="90000"/>
                    <a:lumOff val="10000"/>
                  </a:srgbClr>
                </a:gs>
                <a:gs pos="30000">
                  <a:srgbClr val="008BD2"/>
                </a:gs>
                <a:gs pos="85000">
                  <a:srgbClr val="5BC5F2"/>
                </a:gs>
              </a:gsLst>
              <a:lin ang="192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/>
              <a:r>
                <a:rPr lang="en-US" sz="3200" b="1" dirty="0" smtClean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31" name="Ellipse 30"/>
            <p:cNvSpPr>
              <a:spLocks noChangeAspect="1"/>
            </p:cNvSpPr>
            <p:nvPr/>
          </p:nvSpPr>
          <p:spPr>
            <a:xfrm>
              <a:off x="709717" y="2068325"/>
              <a:ext cx="479875" cy="479072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 defTabSz="1151830"/>
              <a:r>
                <a:rPr lang="en-US" sz="1600" b="1" dirty="0">
                  <a:solidFill>
                    <a:schemeClr val="bg1"/>
                  </a:solidFill>
                  <a:latin typeface="Cambria"/>
                </a:rPr>
                <a:t>46</a:t>
              </a:r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8609082" y="3040002"/>
            <a:ext cx="2568853" cy="2583020"/>
            <a:chOff x="3191391" y="1784287"/>
            <a:chExt cx="2568853" cy="2583020"/>
          </a:xfrm>
        </p:grpSpPr>
        <p:sp>
          <p:nvSpPr>
            <p:cNvPr id="19" name="Ellipse 18"/>
            <p:cNvSpPr>
              <a:spLocks noChangeAspect="1"/>
            </p:cNvSpPr>
            <p:nvPr/>
          </p:nvSpPr>
          <p:spPr>
            <a:xfrm>
              <a:off x="3684873" y="2137937"/>
              <a:ext cx="1603477" cy="1601862"/>
            </a:xfrm>
            <a:prstGeom prst="ellipse">
              <a:avLst/>
            </a:prstGeom>
            <a:gradFill>
              <a:gsLst>
                <a:gs pos="5000">
                  <a:srgbClr val="0059A3">
                    <a:lumMod val="90000"/>
                    <a:lumOff val="10000"/>
                  </a:srgbClr>
                </a:gs>
                <a:gs pos="30000">
                  <a:srgbClr val="008BD2"/>
                </a:gs>
                <a:gs pos="85000">
                  <a:srgbClr val="5BC5F2"/>
                </a:gs>
              </a:gsLst>
              <a:lin ang="192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/>
              <a:r>
                <a:rPr lang="en-US" sz="5400" b="1" dirty="0" smtClean="0">
                  <a:solidFill>
                    <a:schemeClr val="bg1"/>
                  </a:solidFill>
                </a:rPr>
                <a:t>50</a:t>
              </a:r>
            </a:p>
          </p:txBody>
        </p:sp>
        <p:sp>
          <p:nvSpPr>
            <p:cNvPr id="20" name="Ellipse 19"/>
            <p:cNvSpPr>
              <a:spLocks noChangeAspect="1"/>
            </p:cNvSpPr>
            <p:nvPr/>
          </p:nvSpPr>
          <p:spPr>
            <a:xfrm>
              <a:off x="3251438" y="2903018"/>
              <a:ext cx="473239" cy="472447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 defTabSz="1151830"/>
              <a:r>
                <a:rPr lang="en-US" sz="1600" b="1" dirty="0" smtClean="0">
                  <a:solidFill>
                    <a:schemeClr val="bg1"/>
                  </a:solidFill>
                  <a:latin typeface="Cambria"/>
                </a:rPr>
                <a:t>6</a:t>
              </a:r>
              <a:endParaRPr lang="en-US" sz="1600" b="1" dirty="0">
                <a:solidFill>
                  <a:schemeClr val="bg1"/>
                </a:solidFill>
                <a:latin typeface="Cambria"/>
              </a:endParaRPr>
            </a:p>
          </p:txBody>
        </p:sp>
        <p:sp>
          <p:nvSpPr>
            <p:cNvPr id="21" name="Rechteck 20"/>
            <p:cNvSpPr/>
            <p:nvPr/>
          </p:nvSpPr>
          <p:spPr>
            <a:xfrm>
              <a:off x="4135523" y="1784287"/>
              <a:ext cx="692818" cy="388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2035*</a:t>
              </a:r>
              <a:r>
                <a:rPr lang="en-US" sz="1800" dirty="0" smtClean="0">
                  <a:solidFill>
                    <a:schemeClr val="tx2"/>
                  </a:solidFill>
                </a:rPr>
                <a:t> 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>
            <a:xfrm>
              <a:off x="3212979" y="3720976"/>
              <a:ext cx="254726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lang="en-US" sz="1800" b="1" kern="1200" dirty="0" smtClean="0">
                  <a:solidFill>
                    <a:schemeClr val="accent5"/>
                  </a:solidFill>
                </a:rPr>
                <a:t>Million </a:t>
              </a:r>
            </a:p>
            <a:p>
              <a:pPr lvl="0" algn="ctr">
                <a:lnSpc>
                  <a:spcPct val="100000"/>
                </a:lnSpc>
              </a:pPr>
              <a:r>
                <a:rPr lang="en-US" sz="1800" b="1" kern="1200" dirty="0" smtClean="0">
                  <a:solidFill>
                    <a:schemeClr val="accent5"/>
                  </a:solidFill>
                </a:rPr>
                <a:t>Smart Meters</a:t>
              </a:r>
              <a:endParaRPr lang="en-US" sz="1800" b="1" kern="1200" dirty="0">
                <a:solidFill>
                  <a:schemeClr val="accent5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3191391" y="2575389"/>
              <a:ext cx="590226" cy="312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chemeClr val="accent5"/>
                  </a:solidFill>
                </a:rPr>
                <a:t>2020 </a:t>
              </a: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6164982" y="1182321"/>
            <a:ext cx="3528820" cy="2291642"/>
            <a:chOff x="540244" y="3420087"/>
            <a:chExt cx="3528820" cy="2291642"/>
          </a:xfrm>
        </p:grpSpPr>
        <p:sp>
          <p:nvSpPr>
            <p:cNvPr id="23" name="Ellipse 22"/>
            <p:cNvSpPr>
              <a:spLocks noChangeAspect="1"/>
            </p:cNvSpPr>
            <p:nvPr/>
          </p:nvSpPr>
          <p:spPr>
            <a:xfrm>
              <a:off x="1466497" y="3759358"/>
              <a:ext cx="1603477" cy="1601862"/>
            </a:xfrm>
            <a:prstGeom prst="ellipse">
              <a:avLst/>
            </a:prstGeom>
            <a:gradFill>
              <a:gsLst>
                <a:gs pos="5000">
                  <a:srgbClr val="0059A3">
                    <a:lumMod val="90000"/>
                    <a:lumOff val="10000"/>
                  </a:srgbClr>
                </a:gs>
                <a:gs pos="30000">
                  <a:srgbClr val="008BD2"/>
                </a:gs>
                <a:gs pos="85000">
                  <a:srgbClr val="5BC5F2"/>
                </a:gs>
              </a:gsLst>
              <a:lin ang="19200000" scaled="0"/>
            </a:gra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/>
              <a:r>
                <a:rPr lang="en-US" sz="5400" b="1" dirty="0" smtClean="0">
                  <a:solidFill>
                    <a:schemeClr val="bg1"/>
                  </a:solidFill>
                </a:rPr>
                <a:t>18</a:t>
              </a:r>
            </a:p>
          </p:txBody>
        </p:sp>
        <p:sp>
          <p:nvSpPr>
            <p:cNvPr id="24" name="Ellipse 23"/>
            <p:cNvSpPr>
              <a:spLocks noChangeAspect="1"/>
            </p:cNvSpPr>
            <p:nvPr/>
          </p:nvSpPr>
          <p:spPr>
            <a:xfrm>
              <a:off x="1033062" y="4524439"/>
              <a:ext cx="473239" cy="472447"/>
            </a:xfrm>
            <a:prstGeom prst="ellipse">
              <a:avLst/>
            </a:prstGeom>
            <a:solidFill>
              <a:schemeClr val="accent6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6" algn="ctr" defTabSz="1151830"/>
              <a:r>
                <a:rPr lang="en-US" sz="1600" b="1" dirty="0">
                  <a:solidFill>
                    <a:schemeClr val="bg1"/>
                  </a:solidFill>
                  <a:latin typeface="Cambria"/>
                </a:rPr>
                <a:t>2.3</a:t>
              </a:r>
            </a:p>
          </p:txBody>
        </p:sp>
        <p:sp>
          <p:nvSpPr>
            <p:cNvPr id="25" name="Rechteck 24"/>
            <p:cNvSpPr/>
            <p:nvPr/>
          </p:nvSpPr>
          <p:spPr>
            <a:xfrm>
              <a:off x="1900709" y="3420087"/>
              <a:ext cx="692818" cy="3886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2035*</a:t>
              </a:r>
              <a:r>
                <a:rPr lang="en-US" sz="1800" dirty="0" smtClean="0">
                  <a:solidFill>
                    <a:schemeClr val="tx2"/>
                  </a:solidFill>
                </a:rPr>
                <a:t> 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009064" y="4155681"/>
              <a:ext cx="590226" cy="3126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>
                  <a:solidFill>
                    <a:schemeClr val="accent5"/>
                  </a:solidFill>
                </a:rPr>
                <a:t>2020 </a:t>
              </a:r>
            </a:p>
          </p:txBody>
        </p:sp>
        <p:sp>
          <p:nvSpPr>
            <p:cNvPr id="33" name="Rechteck 32"/>
            <p:cNvSpPr/>
            <p:nvPr/>
          </p:nvSpPr>
          <p:spPr>
            <a:xfrm>
              <a:off x="540244" y="5342397"/>
              <a:ext cx="352882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lang="en-US" sz="1800" b="1" kern="1200" dirty="0">
                  <a:solidFill>
                    <a:schemeClr val="accent5"/>
                  </a:solidFill>
                </a:rPr>
                <a:t>GW installed battery storage**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01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717975" y="1279084"/>
            <a:ext cx="4355722" cy="3761003"/>
          </a:xfrm>
        </p:spPr>
        <p:txBody>
          <a:bodyPr/>
          <a:lstStyle/>
          <a:p>
            <a:pPr marL="285750" lvl="0" indent="-285750" defTabSz="9144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nvest EUR 9 billion: EUR 7 billion nationally + EUR 2 billion internationally</a:t>
            </a:r>
          </a:p>
          <a:p>
            <a:pPr marL="285750" lvl="0" indent="-285750" defTabSz="9144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lvl="0" indent="-285750" defTabSz="9144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5 GW of electrolysis generation capacity till </a:t>
            </a:r>
            <a:r>
              <a:rPr lang="en-US" sz="1600" dirty="0" smtClean="0"/>
              <a:t>2030, another </a:t>
            </a:r>
            <a:r>
              <a:rPr lang="en-US" sz="1600" dirty="0"/>
              <a:t>5 GW </a:t>
            </a:r>
            <a:r>
              <a:rPr lang="en-US" sz="1600" dirty="0" smtClean="0"/>
              <a:t>till 2035, latest 2040</a:t>
            </a:r>
            <a:endParaRPr lang="en-US" sz="1600" dirty="0"/>
          </a:p>
          <a:p>
            <a:pPr lvl="0" defTabSz="914400">
              <a:spcBef>
                <a:spcPts val="0"/>
              </a:spcBef>
            </a:pPr>
            <a:endParaRPr lang="en-US" sz="1600" dirty="0"/>
          </a:p>
          <a:p>
            <a:pPr marL="285750" lvl="0" indent="-285750" defTabSz="9144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Develop a policy framework that encourages investments  </a:t>
            </a:r>
            <a:endParaRPr lang="en-US" sz="1600" dirty="0" smtClean="0"/>
          </a:p>
          <a:p>
            <a:pPr lvl="0" defTabSz="914400">
              <a:spcBef>
                <a:spcPts val="0"/>
              </a:spcBef>
            </a:pPr>
            <a:endParaRPr lang="en-US" sz="1600" dirty="0"/>
          </a:p>
          <a:p>
            <a:pPr lvl="0" defTabSz="914400">
              <a:spcBef>
                <a:spcPts val="0"/>
              </a:spcBef>
            </a:pPr>
            <a:endParaRPr lang="en-US" sz="1600" dirty="0" smtClean="0"/>
          </a:p>
          <a:p>
            <a:pPr lvl="0" defTabSz="914400">
              <a:spcBef>
                <a:spcPts val="0"/>
              </a:spcBef>
            </a:pPr>
            <a:endParaRPr lang="en-US" sz="1600" dirty="0"/>
          </a:p>
          <a:p>
            <a:pPr lvl="0" algn="ctr" defTabSz="914400">
              <a:spcBef>
                <a:spcPts val="0"/>
              </a:spcBef>
            </a:pPr>
            <a:r>
              <a:rPr lang="en-US" sz="1600" dirty="0" smtClean="0"/>
              <a:t>37 measures to ramp up hydrogen market: </a:t>
            </a:r>
          </a:p>
          <a:p>
            <a:pPr lvl="0" algn="ctr" defTabSz="914400">
              <a:spcBef>
                <a:spcPts val="0"/>
              </a:spcBef>
            </a:pPr>
            <a:r>
              <a:rPr lang="en-US" sz="1600" dirty="0" smtClean="0"/>
              <a:t>from generation to utilization</a:t>
            </a:r>
          </a:p>
          <a:p>
            <a:pPr lvl="0" algn="ctr" defTabSz="914400">
              <a:spcBef>
                <a:spcPts val="0"/>
              </a:spcBef>
            </a:pPr>
            <a:r>
              <a:rPr lang="en-US" sz="1600" dirty="0" smtClean="0"/>
              <a:t>industry, heating, mobility, infrastructure</a:t>
            </a:r>
            <a:endParaRPr lang="en-US" sz="1600" dirty="0"/>
          </a:p>
          <a:p>
            <a:endParaRPr lang="en-US" sz="1600" dirty="0"/>
          </a:p>
          <a:p>
            <a:endParaRPr lang="de-DE" sz="160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40245" y="360090"/>
            <a:ext cx="10440495" cy="539997"/>
          </a:xfrm>
        </p:spPr>
        <p:txBody>
          <a:bodyPr vert="horz"/>
          <a:lstStyle/>
          <a:p>
            <a:r>
              <a:rPr lang="en-US" dirty="0"/>
              <a:t>Germany’s National Hydrogen Strategy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en-US" dirty="0"/>
              <a:t>Hydrogen will become central pillar in achieving Germany’s energy transition 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244" y="1279084"/>
            <a:ext cx="2691279" cy="3588372"/>
          </a:xfrm>
          <a:prstGeom prst="rect">
            <a:avLst/>
          </a:prstGeom>
        </p:spPr>
      </p:pic>
      <p:sp>
        <p:nvSpPr>
          <p:cNvPr id="14" name="Pfeil nach unten 13"/>
          <p:cNvSpPr/>
          <p:nvPr/>
        </p:nvSpPr>
        <p:spPr>
          <a:xfrm>
            <a:off x="7200244" y="3420087"/>
            <a:ext cx="1260000" cy="716315"/>
          </a:xfrm>
          <a:prstGeom prst="downArrow">
            <a:avLst/>
          </a:prstGeom>
          <a:solidFill>
            <a:srgbClr val="5BC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de-DE" sz="8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451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</a:t>
            </a:r>
            <a:r>
              <a:rPr lang="en-US" dirty="0" smtClean="0"/>
              <a:t>conomic Development Agency </a:t>
            </a:r>
            <a:r>
              <a:rPr lang="en-US" dirty="0"/>
              <a:t>of Germany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0244" y="3234919"/>
            <a:ext cx="5217972" cy="720080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2911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10A71A3-AADC-6949-A2D4-63F8027410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sz="4000" kern="1000" spc="100" dirty="0" err="1"/>
              <a:t>Get</a:t>
            </a:r>
            <a:r>
              <a:rPr lang="de-DE" sz="4000" kern="1000" spc="100" dirty="0"/>
              <a:t> in </a:t>
            </a:r>
            <a:r>
              <a:rPr lang="de-DE" sz="4000" kern="1000" spc="100" dirty="0" err="1"/>
              <a:t>touch</a:t>
            </a:r>
            <a:r>
              <a:rPr lang="de-DE" sz="4000" kern="1000" spc="100" dirty="0"/>
              <a:t>!</a:t>
            </a:r>
          </a:p>
          <a:p>
            <a:r>
              <a:rPr lang="de-DE" sz="4000" kern="1000" spc="100" dirty="0" smtClean="0"/>
              <a:t>Thomas.grigoleit@gtai.com</a:t>
            </a:r>
            <a:endParaRPr lang="de-DE" sz="4000" kern="1000" spc="100" dirty="0"/>
          </a:p>
          <a:p>
            <a:r>
              <a:rPr lang="de-DE" sz="4000" kern="1000" spc="100" dirty="0" smtClean="0"/>
              <a:t>Tel.: +49 30 2000 99 224</a:t>
            </a:r>
            <a:endParaRPr lang="de-DE" sz="4000" kern="1000" spc="100" dirty="0"/>
          </a:p>
        </p:txBody>
      </p:sp>
    </p:spTree>
    <p:extLst>
      <p:ext uri="{BB962C8B-B14F-4D97-AF65-F5344CB8AC3E}">
        <p14:creationId xmlns:p14="http://schemas.microsoft.com/office/powerpoint/2010/main" val="2030106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CC1656A2-C304-FA44-A910-DCF7889C3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velopme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newabl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Energy</a:t>
            </a:r>
            <a:r>
              <a:rPr lang="de-DE" dirty="0" smtClean="0"/>
              <a:t> System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F236D79-9C78-7B44-8641-FE164EA292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Sources: 50HertzT, </a:t>
            </a:r>
            <a:r>
              <a:rPr lang="en-GB" dirty="0" err="1"/>
              <a:t>TenneT</a:t>
            </a:r>
            <a:r>
              <a:rPr lang="en-GB" dirty="0"/>
              <a:t>, </a:t>
            </a:r>
            <a:r>
              <a:rPr lang="en-GB" dirty="0" err="1"/>
              <a:t>Amprion</a:t>
            </a:r>
            <a:r>
              <a:rPr lang="en-GB" dirty="0"/>
              <a:t>, </a:t>
            </a:r>
            <a:r>
              <a:rPr lang="en-GB" dirty="0" err="1"/>
              <a:t>TransnetBW</a:t>
            </a:r>
            <a:r>
              <a:rPr lang="en-GB" dirty="0"/>
              <a:t>, internal </a:t>
            </a:r>
            <a:r>
              <a:rPr lang="en-GB" dirty="0" smtClean="0"/>
              <a:t>data</a:t>
            </a:r>
            <a:endParaRPr lang="en-GB" dirty="0"/>
          </a:p>
        </p:txBody>
      </p:sp>
      <p:pic>
        <p:nvPicPr>
          <p:cNvPr id="120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547" t="6515" r="21129" b="8001"/>
          <a:stretch/>
        </p:blipFill>
        <p:spPr bwMode="auto">
          <a:xfrm>
            <a:off x="7031586" y="1285023"/>
            <a:ext cx="3674454" cy="4422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" name="Rechteck 121"/>
          <p:cNvSpPr/>
          <p:nvPr/>
        </p:nvSpPr>
        <p:spPr>
          <a:xfrm>
            <a:off x="562121" y="1898150"/>
            <a:ext cx="3742601" cy="38089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2000)</a:t>
            </a:r>
          </a:p>
        </p:txBody>
      </p:sp>
      <p:sp>
        <p:nvSpPr>
          <p:cNvPr id="123" name="Textfeld 10"/>
          <p:cNvSpPr txBox="1">
            <a:spLocks noChangeArrowheads="1"/>
          </p:cNvSpPr>
          <p:nvPr/>
        </p:nvSpPr>
        <p:spPr bwMode="auto">
          <a:xfrm>
            <a:off x="578238" y="2510594"/>
            <a:ext cx="3742006" cy="31015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buClr>
                <a:prstClr val="black"/>
              </a:buClr>
              <a:buSzPct val="100000"/>
              <a:defRPr/>
            </a:pPr>
            <a:r>
              <a:rPr lang="en-GB" sz="1323" b="1" kern="1200" dirty="0">
                <a:solidFill>
                  <a:prstClr val="white"/>
                </a:solidFill>
                <a:uFill>
                  <a:solidFill>
                    <a:prstClr val="black"/>
                  </a:solidFill>
                </a:uFill>
                <a:latin typeface="Cambria"/>
              </a:rPr>
              <a:t>~ 30,000 installations</a:t>
            </a:r>
          </a:p>
        </p:txBody>
      </p:sp>
      <p:grpSp>
        <p:nvGrpSpPr>
          <p:cNvPr id="124" name="Gruppieren 123"/>
          <p:cNvGrpSpPr/>
          <p:nvPr/>
        </p:nvGrpSpPr>
        <p:grpSpPr>
          <a:xfrm>
            <a:off x="1512941" y="3156007"/>
            <a:ext cx="1888463" cy="1512041"/>
            <a:chOff x="6076657" y="3086235"/>
            <a:chExt cx="1998569" cy="1600200"/>
          </a:xfrm>
        </p:grpSpPr>
        <p:sp>
          <p:nvSpPr>
            <p:cNvPr id="126" name="Ellipse 3"/>
            <p:cNvSpPr>
              <a:spLocks noChangeArrowheads="1"/>
            </p:cNvSpPr>
            <p:nvPr/>
          </p:nvSpPr>
          <p:spPr bwMode="auto">
            <a:xfrm>
              <a:off x="6076657" y="3086235"/>
              <a:ext cx="457200" cy="457200"/>
            </a:xfrm>
            <a:prstGeom prst="ellipse">
              <a:avLst/>
            </a:prstGeom>
            <a:solidFill>
              <a:srgbClr val="FF0000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7" name="Ellipse 4"/>
            <p:cNvSpPr>
              <a:spLocks noChangeArrowheads="1"/>
            </p:cNvSpPr>
            <p:nvPr/>
          </p:nvSpPr>
          <p:spPr bwMode="auto">
            <a:xfrm>
              <a:off x="6076657" y="3664085"/>
              <a:ext cx="457200" cy="457200"/>
            </a:xfrm>
            <a:prstGeom prst="ellipse">
              <a:avLst/>
            </a:prstGeom>
            <a:solidFill>
              <a:srgbClr val="FFFF00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8" name="Ellipse 5"/>
            <p:cNvSpPr>
              <a:spLocks noChangeArrowheads="1"/>
            </p:cNvSpPr>
            <p:nvPr/>
          </p:nvSpPr>
          <p:spPr bwMode="auto">
            <a:xfrm>
              <a:off x="6076657" y="4229235"/>
              <a:ext cx="457200" cy="457200"/>
            </a:xfrm>
            <a:prstGeom prst="ellipse">
              <a:avLst/>
            </a:prstGeom>
            <a:solidFill>
              <a:srgbClr val="27FF27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9" name="Textfeld 6"/>
            <p:cNvSpPr txBox="1">
              <a:spLocks noChangeArrowheads="1"/>
            </p:cNvSpPr>
            <p:nvPr/>
          </p:nvSpPr>
          <p:spPr bwMode="auto">
            <a:xfrm>
              <a:off x="6725383" y="3162435"/>
              <a:ext cx="1349843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Wind energy</a:t>
              </a:r>
            </a:p>
          </p:txBody>
        </p:sp>
        <p:sp>
          <p:nvSpPr>
            <p:cNvPr id="130" name="Textfeld 7"/>
            <p:cNvSpPr txBox="1">
              <a:spLocks noChangeArrowheads="1"/>
            </p:cNvSpPr>
            <p:nvPr/>
          </p:nvSpPr>
          <p:spPr bwMode="auto">
            <a:xfrm>
              <a:off x="6725383" y="3719554"/>
              <a:ext cx="438638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PV</a:t>
              </a:r>
            </a:p>
          </p:txBody>
        </p:sp>
        <p:sp>
          <p:nvSpPr>
            <p:cNvPr id="131" name="Textfeld 8"/>
            <p:cNvSpPr txBox="1">
              <a:spLocks noChangeArrowheads="1"/>
            </p:cNvSpPr>
            <p:nvPr/>
          </p:nvSpPr>
          <p:spPr bwMode="auto">
            <a:xfrm>
              <a:off x="6725383" y="4267335"/>
              <a:ext cx="946968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Biomass</a:t>
              </a:r>
            </a:p>
          </p:txBody>
        </p:sp>
      </p:grpSp>
      <p:sp>
        <p:nvSpPr>
          <p:cNvPr id="125" name="Textfeld 10"/>
          <p:cNvSpPr txBox="1">
            <a:spLocks noChangeArrowheads="1"/>
          </p:cNvSpPr>
          <p:nvPr/>
        </p:nvSpPr>
        <p:spPr bwMode="auto">
          <a:xfrm>
            <a:off x="578238" y="4859616"/>
            <a:ext cx="3742006" cy="62119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spcBef>
                <a:spcPts val="567"/>
              </a:spcBef>
              <a:buClr>
                <a:prstClr val="black"/>
              </a:buClr>
              <a:buSzPct val="100000"/>
              <a:defRPr/>
            </a:pPr>
            <a:r>
              <a:rPr lang="en-GB" sz="1606" dirty="0">
                <a:solidFill>
                  <a:prstClr val="black"/>
                </a:solidFill>
                <a:latin typeface="Calibri"/>
              </a:rPr>
              <a:t>The circle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diameter</a:t>
            </a:r>
            <a:r>
              <a:rPr lang="en-GB" sz="1606" dirty="0">
                <a:solidFill>
                  <a:prstClr val="black"/>
                </a:solidFill>
                <a:latin typeface="Calibri"/>
              </a:rPr>
              <a:t> is proportional</a:t>
            </a:r>
            <a:br>
              <a:rPr lang="en-GB" sz="1606" dirty="0">
                <a:solidFill>
                  <a:prstClr val="black"/>
                </a:solidFill>
                <a:latin typeface="Calibri"/>
              </a:rPr>
            </a:br>
            <a:r>
              <a:rPr lang="en-GB" sz="1606" dirty="0">
                <a:solidFill>
                  <a:prstClr val="black"/>
                </a:solidFill>
                <a:latin typeface="Calibri"/>
              </a:rPr>
              <a:t>to the electrical capacity</a:t>
            </a:r>
          </a:p>
        </p:txBody>
      </p:sp>
    </p:spTree>
    <p:extLst>
      <p:ext uri="{BB962C8B-B14F-4D97-AF65-F5344CB8AC3E}">
        <p14:creationId xmlns:p14="http://schemas.microsoft.com/office/powerpoint/2010/main" val="175445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CC1656A2-C304-FA44-A910-DCF7889C3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velopme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newabl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Energy</a:t>
            </a:r>
            <a:r>
              <a:rPr lang="de-DE" dirty="0" smtClean="0"/>
              <a:t> System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F236D79-9C78-7B44-8641-FE164EA292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Sources: 50HertzT, </a:t>
            </a:r>
            <a:r>
              <a:rPr lang="en-GB" dirty="0" err="1"/>
              <a:t>TenneT</a:t>
            </a:r>
            <a:r>
              <a:rPr lang="en-GB" dirty="0"/>
              <a:t>, </a:t>
            </a:r>
            <a:r>
              <a:rPr lang="en-GB" dirty="0" err="1"/>
              <a:t>Amprion</a:t>
            </a:r>
            <a:r>
              <a:rPr lang="en-GB" dirty="0"/>
              <a:t>, </a:t>
            </a:r>
            <a:r>
              <a:rPr lang="en-GB" dirty="0" err="1"/>
              <a:t>TransnetBW</a:t>
            </a:r>
            <a:r>
              <a:rPr lang="en-GB" dirty="0"/>
              <a:t>, internal </a:t>
            </a:r>
            <a:r>
              <a:rPr lang="en-GB" dirty="0" smtClean="0"/>
              <a:t>data</a:t>
            </a:r>
            <a:endParaRPr lang="en-GB" dirty="0"/>
          </a:p>
        </p:txBody>
      </p:sp>
      <p:pic>
        <p:nvPicPr>
          <p:cNvPr id="120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547" t="6515" r="21129" b="8001"/>
          <a:stretch/>
        </p:blipFill>
        <p:spPr bwMode="auto">
          <a:xfrm>
            <a:off x="7031586" y="1285023"/>
            <a:ext cx="3674454" cy="4422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" name="Rechteck 121"/>
          <p:cNvSpPr/>
          <p:nvPr/>
        </p:nvSpPr>
        <p:spPr>
          <a:xfrm>
            <a:off x="562121" y="1898150"/>
            <a:ext cx="3742601" cy="38089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2000)</a:t>
            </a:r>
          </a:p>
        </p:txBody>
      </p:sp>
      <p:sp>
        <p:nvSpPr>
          <p:cNvPr id="123" name="Textfeld 10"/>
          <p:cNvSpPr txBox="1">
            <a:spLocks noChangeArrowheads="1"/>
          </p:cNvSpPr>
          <p:nvPr/>
        </p:nvSpPr>
        <p:spPr bwMode="auto">
          <a:xfrm>
            <a:off x="578238" y="2510594"/>
            <a:ext cx="3742006" cy="31015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buClr>
                <a:prstClr val="black"/>
              </a:buClr>
              <a:buSzPct val="100000"/>
              <a:defRPr/>
            </a:pPr>
            <a:r>
              <a:rPr lang="en-GB" sz="1323" b="1" kern="1200" dirty="0">
                <a:solidFill>
                  <a:prstClr val="white"/>
                </a:solidFill>
                <a:uFill>
                  <a:solidFill>
                    <a:prstClr val="black"/>
                  </a:solidFill>
                </a:uFill>
                <a:latin typeface="Cambria"/>
              </a:rPr>
              <a:t>~ 30,000 installations</a:t>
            </a:r>
          </a:p>
        </p:txBody>
      </p:sp>
      <p:grpSp>
        <p:nvGrpSpPr>
          <p:cNvPr id="124" name="Gruppieren 123"/>
          <p:cNvGrpSpPr/>
          <p:nvPr/>
        </p:nvGrpSpPr>
        <p:grpSpPr>
          <a:xfrm>
            <a:off x="1512941" y="3156007"/>
            <a:ext cx="1888463" cy="1512041"/>
            <a:chOff x="6076657" y="3086235"/>
            <a:chExt cx="1998569" cy="1600200"/>
          </a:xfrm>
        </p:grpSpPr>
        <p:sp>
          <p:nvSpPr>
            <p:cNvPr id="126" name="Ellipse 3"/>
            <p:cNvSpPr>
              <a:spLocks noChangeArrowheads="1"/>
            </p:cNvSpPr>
            <p:nvPr/>
          </p:nvSpPr>
          <p:spPr bwMode="auto">
            <a:xfrm>
              <a:off x="6076657" y="3086235"/>
              <a:ext cx="457200" cy="457200"/>
            </a:xfrm>
            <a:prstGeom prst="ellipse">
              <a:avLst/>
            </a:prstGeom>
            <a:solidFill>
              <a:srgbClr val="FF0000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7" name="Ellipse 4"/>
            <p:cNvSpPr>
              <a:spLocks noChangeArrowheads="1"/>
            </p:cNvSpPr>
            <p:nvPr/>
          </p:nvSpPr>
          <p:spPr bwMode="auto">
            <a:xfrm>
              <a:off x="6076657" y="3664085"/>
              <a:ext cx="457200" cy="457200"/>
            </a:xfrm>
            <a:prstGeom prst="ellipse">
              <a:avLst/>
            </a:prstGeom>
            <a:solidFill>
              <a:srgbClr val="FFFF00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8" name="Ellipse 5"/>
            <p:cNvSpPr>
              <a:spLocks noChangeArrowheads="1"/>
            </p:cNvSpPr>
            <p:nvPr/>
          </p:nvSpPr>
          <p:spPr bwMode="auto">
            <a:xfrm>
              <a:off x="6076657" y="4229235"/>
              <a:ext cx="457200" cy="457200"/>
            </a:xfrm>
            <a:prstGeom prst="ellipse">
              <a:avLst/>
            </a:prstGeom>
            <a:solidFill>
              <a:srgbClr val="27FF27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9" name="Textfeld 6"/>
            <p:cNvSpPr txBox="1">
              <a:spLocks noChangeArrowheads="1"/>
            </p:cNvSpPr>
            <p:nvPr/>
          </p:nvSpPr>
          <p:spPr bwMode="auto">
            <a:xfrm>
              <a:off x="6725383" y="3162435"/>
              <a:ext cx="1349843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Wind energy</a:t>
              </a:r>
            </a:p>
          </p:txBody>
        </p:sp>
        <p:sp>
          <p:nvSpPr>
            <p:cNvPr id="130" name="Textfeld 7"/>
            <p:cNvSpPr txBox="1">
              <a:spLocks noChangeArrowheads="1"/>
            </p:cNvSpPr>
            <p:nvPr/>
          </p:nvSpPr>
          <p:spPr bwMode="auto">
            <a:xfrm>
              <a:off x="6725383" y="3719554"/>
              <a:ext cx="438638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PV</a:t>
              </a:r>
            </a:p>
          </p:txBody>
        </p:sp>
        <p:sp>
          <p:nvSpPr>
            <p:cNvPr id="131" name="Textfeld 8"/>
            <p:cNvSpPr txBox="1">
              <a:spLocks noChangeArrowheads="1"/>
            </p:cNvSpPr>
            <p:nvPr/>
          </p:nvSpPr>
          <p:spPr bwMode="auto">
            <a:xfrm>
              <a:off x="6725383" y="4267335"/>
              <a:ext cx="946968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Biomass</a:t>
              </a:r>
            </a:p>
          </p:txBody>
        </p:sp>
      </p:grpSp>
      <p:sp>
        <p:nvSpPr>
          <p:cNvPr id="125" name="Textfeld 10"/>
          <p:cNvSpPr txBox="1">
            <a:spLocks noChangeArrowheads="1"/>
          </p:cNvSpPr>
          <p:nvPr/>
        </p:nvSpPr>
        <p:spPr bwMode="auto">
          <a:xfrm>
            <a:off x="578238" y="4859616"/>
            <a:ext cx="3742006" cy="62119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spcBef>
                <a:spcPts val="567"/>
              </a:spcBef>
              <a:buClr>
                <a:prstClr val="black"/>
              </a:buClr>
              <a:buSzPct val="100000"/>
              <a:defRPr/>
            </a:pPr>
            <a:r>
              <a:rPr lang="en-GB" sz="1606" dirty="0">
                <a:solidFill>
                  <a:prstClr val="black"/>
                </a:solidFill>
                <a:latin typeface="Calibri"/>
              </a:rPr>
              <a:t>The circle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diameter</a:t>
            </a:r>
            <a:r>
              <a:rPr lang="en-GB" sz="1606" dirty="0">
                <a:solidFill>
                  <a:prstClr val="black"/>
                </a:solidFill>
                <a:latin typeface="Calibri"/>
              </a:rPr>
              <a:t> is proportional</a:t>
            </a:r>
            <a:br>
              <a:rPr lang="en-GB" sz="1606" dirty="0">
                <a:solidFill>
                  <a:prstClr val="black"/>
                </a:solidFill>
                <a:latin typeface="Calibri"/>
              </a:rPr>
            </a:br>
            <a:r>
              <a:rPr lang="en-GB" sz="1606" dirty="0">
                <a:solidFill>
                  <a:prstClr val="black"/>
                </a:solidFill>
                <a:latin typeface="Calibri"/>
              </a:rPr>
              <a:t>to the electrical capacity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562846" y="1893207"/>
            <a:ext cx="3742600" cy="4514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2005)</a:t>
            </a:r>
          </a:p>
        </p:txBody>
      </p:sp>
      <p:sp>
        <p:nvSpPr>
          <p:cNvPr id="134" name="Textfeld 10"/>
          <p:cNvSpPr txBox="1">
            <a:spLocks noChangeArrowheads="1"/>
          </p:cNvSpPr>
          <p:nvPr/>
        </p:nvSpPr>
        <p:spPr bwMode="auto">
          <a:xfrm>
            <a:off x="579600" y="2509200"/>
            <a:ext cx="3742005" cy="31015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buClr>
                <a:prstClr val="black"/>
              </a:buClr>
              <a:buSzPct val="100000"/>
              <a:defRPr/>
            </a:pPr>
            <a:r>
              <a:rPr lang="en-GB" sz="1323" b="1" kern="1200" dirty="0">
                <a:solidFill>
                  <a:prstClr val="white"/>
                </a:solidFill>
                <a:uFill>
                  <a:solidFill>
                    <a:prstClr val="black"/>
                  </a:solidFill>
                </a:uFill>
                <a:latin typeface="Cambria"/>
              </a:rPr>
              <a:t>~ 221,000 installations</a:t>
            </a:r>
          </a:p>
        </p:txBody>
      </p:sp>
      <p:pic>
        <p:nvPicPr>
          <p:cNvPr id="135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70" t="7560" r="22414" b="8121"/>
          <a:stretch/>
        </p:blipFill>
        <p:spPr bwMode="auto">
          <a:xfrm>
            <a:off x="7002906" y="1285130"/>
            <a:ext cx="3721676" cy="444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6" name="Rechteck 135"/>
          <p:cNvSpPr/>
          <p:nvPr/>
        </p:nvSpPr>
        <p:spPr>
          <a:xfrm>
            <a:off x="561397" y="1899252"/>
            <a:ext cx="3742601" cy="5603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2005)</a:t>
            </a:r>
            <a:endParaRPr lang="en-GB" sz="1606" b="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825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CC1656A2-C304-FA44-A910-DCF7889C3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velopme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newabl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Energy</a:t>
            </a:r>
            <a:r>
              <a:rPr lang="de-DE" dirty="0" smtClean="0"/>
              <a:t> System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F236D79-9C78-7B44-8641-FE164EA292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Sources: 50HertzT, </a:t>
            </a:r>
            <a:r>
              <a:rPr lang="en-GB" dirty="0" err="1"/>
              <a:t>TenneT</a:t>
            </a:r>
            <a:r>
              <a:rPr lang="en-GB" dirty="0"/>
              <a:t>, </a:t>
            </a:r>
            <a:r>
              <a:rPr lang="en-GB" dirty="0" err="1"/>
              <a:t>Amprion</a:t>
            </a:r>
            <a:r>
              <a:rPr lang="en-GB" dirty="0"/>
              <a:t>, </a:t>
            </a:r>
            <a:r>
              <a:rPr lang="en-GB" dirty="0" err="1"/>
              <a:t>TransnetBW</a:t>
            </a:r>
            <a:r>
              <a:rPr lang="en-GB" dirty="0"/>
              <a:t>, internal </a:t>
            </a:r>
            <a:r>
              <a:rPr lang="en-GB" dirty="0" smtClean="0"/>
              <a:t>data</a:t>
            </a:r>
            <a:endParaRPr lang="en-GB" dirty="0"/>
          </a:p>
        </p:txBody>
      </p:sp>
      <p:pic>
        <p:nvPicPr>
          <p:cNvPr id="120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547" t="6515" r="21129" b="8001"/>
          <a:stretch/>
        </p:blipFill>
        <p:spPr bwMode="auto">
          <a:xfrm>
            <a:off x="7031586" y="1285023"/>
            <a:ext cx="3674454" cy="4422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" name="Rechteck 121"/>
          <p:cNvSpPr/>
          <p:nvPr/>
        </p:nvSpPr>
        <p:spPr>
          <a:xfrm>
            <a:off x="562121" y="1898150"/>
            <a:ext cx="3742601" cy="38089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2000)</a:t>
            </a:r>
          </a:p>
        </p:txBody>
      </p:sp>
      <p:sp>
        <p:nvSpPr>
          <p:cNvPr id="123" name="Textfeld 10"/>
          <p:cNvSpPr txBox="1">
            <a:spLocks noChangeArrowheads="1"/>
          </p:cNvSpPr>
          <p:nvPr/>
        </p:nvSpPr>
        <p:spPr bwMode="auto">
          <a:xfrm>
            <a:off x="578238" y="2510594"/>
            <a:ext cx="3742006" cy="31015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buClr>
                <a:prstClr val="black"/>
              </a:buClr>
              <a:buSzPct val="100000"/>
              <a:defRPr/>
            </a:pPr>
            <a:r>
              <a:rPr lang="en-GB" sz="1323" b="1" kern="1200" dirty="0">
                <a:solidFill>
                  <a:prstClr val="white"/>
                </a:solidFill>
                <a:uFill>
                  <a:solidFill>
                    <a:prstClr val="black"/>
                  </a:solidFill>
                </a:uFill>
                <a:latin typeface="Cambria"/>
              </a:rPr>
              <a:t>~ 30,000 installations</a:t>
            </a:r>
          </a:p>
        </p:txBody>
      </p:sp>
      <p:grpSp>
        <p:nvGrpSpPr>
          <p:cNvPr id="124" name="Gruppieren 123"/>
          <p:cNvGrpSpPr/>
          <p:nvPr/>
        </p:nvGrpSpPr>
        <p:grpSpPr>
          <a:xfrm>
            <a:off x="1512941" y="3156007"/>
            <a:ext cx="1888463" cy="1512041"/>
            <a:chOff x="6076657" y="3086235"/>
            <a:chExt cx="1998569" cy="1600200"/>
          </a:xfrm>
        </p:grpSpPr>
        <p:sp>
          <p:nvSpPr>
            <p:cNvPr id="126" name="Ellipse 3"/>
            <p:cNvSpPr>
              <a:spLocks noChangeArrowheads="1"/>
            </p:cNvSpPr>
            <p:nvPr/>
          </p:nvSpPr>
          <p:spPr bwMode="auto">
            <a:xfrm>
              <a:off x="6076657" y="3086235"/>
              <a:ext cx="457200" cy="457200"/>
            </a:xfrm>
            <a:prstGeom prst="ellipse">
              <a:avLst/>
            </a:prstGeom>
            <a:solidFill>
              <a:srgbClr val="FF0000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7" name="Ellipse 4"/>
            <p:cNvSpPr>
              <a:spLocks noChangeArrowheads="1"/>
            </p:cNvSpPr>
            <p:nvPr/>
          </p:nvSpPr>
          <p:spPr bwMode="auto">
            <a:xfrm>
              <a:off x="6076657" y="3664085"/>
              <a:ext cx="457200" cy="457200"/>
            </a:xfrm>
            <a:prstGeom prst="ellipse">
              <a:avLst/>
            </a:prstGeom>
            <a:solidFill>
              <a:srgbClr val="FFFF00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8" name="Ellipse 5"/>
            <p:cNvSpPr>
              <a:spLocks noChangeArrowheads="1"/>
            </p:cNvSpPr>
            <p:nvPr/>
          </p:nvSpPr>
          <p:spPr bwMode="auto">
            <a:xfrm>
              <a:off x="6076657" y="4229235"/>
              <a:ext cx="457200" cy="457200"/>
            </a:xfrm>
            <a:prstGeom prst="ellipse">
              <a:avLst/>
            </a:prstGeom>
            <a:solidFill>
              <a:srgbClr val="27FF27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9" name="Textfeld 6"/>
            <p:cNvSpPr txBox="1">
              <a:spLocks noChangeArrowheads="1"/>
            </p:cNvSpPr>
            <p:nvPr/>
          </p:nvSpPr>
          <p:spPr bwMode="auto">
            <a:xfrm>
              <a:off x="6725383" y="3162435"/>
              <a:ext cx="1349843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Wind energy</a:t>
              </a:r>
            </a:p>
          </p:txBody>
        </p:sp>
        <p:sp>
          <p:nvSpPr>
            <p:cNvPr id="130" name="Textfeld 7"/>
            <p:cNvSpPr txBox="1">
              <a:spLocks noChangeArrowheads="1"/>
            </p:cNvSpPr>
            <p:nvPr/>
          </p:nvSpPr>
          <p:spPr bwMode="auto">
            <a:xfrm>
              <a:off x="6725383" y="3719554"/>
              <a:ext cx="438638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PV</a:t>
              </a:r>
            </a:p>
          </p:txBody>
        </p:sp>
        <p:sp>
          <p:nvSpPr>
            <p:cNvPr id="131" name="Textfeld 8"/>
            <p:cNvSpPr txBox="1">
              <a:spLocks noChangeArrowheads="1"/>
            </p:cNvSpPr>
            <p:nvPr/>
          </p:nvSpPr>
          <p:spPr bwMode="auto">
            <a:xfrm>
              <a:off x="6725383" y="4267335"/>
              <a:ext cx="946968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Biomass</a:t>
              </a:r>
            </a:p>
          </p:txBody>
        </p:sp>
      </p:grpSp>
      <p:sp>
        <p:nvSpPr>
          <p:cNvPr id="125" name="Textfeld 10"/>
          <p:cNvSpPr txBox="1">
            <a:spLocks noChangeArrowheads="1"/>
          </p:cNvSpPr>
          <p:nvPr/>
        </p:nvSpPr>
        <p:spPr bwMode="auto">
          <a:xfrm>
            <a:off x="578238" y="4859616"/>
            <a:ext cx="3742006" cy="62119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spcBef>
                <a:spcPts val="567"/>
              </a:spcBef>
              <a:buClr>
                <a:prstClr val="black"/>
              </a:buClr>
              <a:buSzPct val="100000"/>
              <a:defRPr/>
            </a:pPr>
            <a:r>
              <a:rPr lang="en-GB" sz="1606" dirty="0">
                <a:solidFill>
                  <a:prstClr val="black"/>
                </a:solidFill>
                <a:latin typeface="Calibri"/>
              </a:rPr>
              <a:t>The circle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diameter</a:t>
            </a:r>
            <a:r>
              <a:rPr lang="en-GB" sz="1606" dirty="0">
                <a:solidFill>
                  <a:prstClr val="black"/>
                </a:solidFill>
                <a:latin typeface="Calibri"/>
              </a:rPr>
              <a:t> is proportional</a:t>
            </a:r>
            <a:br>
              <a:rPr lang="en-GB" sz="1606" dirty="0">
                <a:solidFill>
                  <a:prstClr val="black"/>
                </a:solidFill>
                <a:latin typeface="Calibri"/>
              </a:rPr>
            </a:br>
            <a:r>
              <a:rPr lang="en-GB" sz="1606" dirty="0">
                <a:solidFill>
                  <a:prstClr val="black"/>
                </a:solidFill>
                <a:latin typeface="Calibri"/>
              </a:rPr>
              <a:t>to the electrical capacity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562846" y="1893207"/>
            <a:ext cx="3742600" cy="4514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2005)</a:t>
            </a:r>
          </a:p>
        </p:txBody>
      </p:sp>
      <p:sp>
        <p:nvSpPr>
          <p:cNvPr id="134" name="Textfeld 10"/>
          <p:cNvSpPr txBox="1">
            <a:spLocks noChangeArrowheads="1"/>
          </p:cNvSpPr>
          <p:nvPr/>
        </p:nvSpPr>
        <p:spPr bwMode="auto">
          <a:xfrm>
            <a:off x="579600" y="2509200"/>
            <a:ext cx="3742005" cy="31015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buClr>
                <a:prstClr val="black"/>
              </a:buClr>
              <a:buSzPct val="100000"/>
              <a:defRPr/>
            </a:pPr>
            <a:r>
              <a:rPr lang="en-GB" sz="1323" b="1" kern="1200" dirty="0">
                <a:solidFill>
                  <a:prstClr val="white"/>
                </a:solidFill>
                <a:uFill>
                  <a:solidFill>
                    <a:prstClr val="black"/>
                  </a:solidFill>
                </a:uFill>
                <a:latin typeface="Cambria"/>
              </a:rPr>
              <a:t>~ 221,000 installations</a:t>
            </a:r>
          </a:p>
        </p:txBody>
      </p:sp>
      <p:pic>
        <p:nvPicPr>
          <p:cNvPr id="135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70" t="7560" r="22414" b="8121"/>
          <a:stretch/>
        </p:blipFill>
        <p:spPr bwMode="auto">
          <a:xfrm>
            <a:off x="7002906" y="1285130"/>
            <a:ext cx="3721676" cy="444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6" name="Rechteck 135"/>
          <p:cNvSpPr/>
          <p:nvPr/>
        </p:nvSpPr>
        <p:spPr>
          <a:xfrm>
            <a:off x="561397" y="1899252"/>
            <a:ext cx="3742601" cy="5603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2010)</a:t>
            </a:r>
          </a:p>
        </p:txBody>
      </p:sp>
      <p:sp>
        <p:nvSpPr>
          <p:cNvPr id="137" name="Textfeld 10"/>
          <p:cNvSpPr txBox="1">
            <a:spLocks noChangeArrowheads="1"/>
          </p:cNvSpPr>
          <p:nvPr/>
        </p:nvSpPr>
        <p:spPr bwMode="auto">
          <a:xfrm>
            <a:off x="579600" y="2509200"/>
            <a:ext cx="3742006" cy="31015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buClr>
                <a:prstClr val="black"/>
              </a:buClr>
              <a:buSzPct val="100000"/>
              <a:defRPr/>
            </a:pPr>
            <a:r>
              <a:rPr lang="en-GB" sz="1323" b="1" kern="1200" dirty="0">
                <a:solidFill>
                  <a:prstClr val="white"/>
                </a:solidFill>
                <a:uFill>
                  <a:solidFill>
                    <a:prstClr val="black"/>
                  </a:solidFill>
                </a:uFill>
                <a:latin typeface="Cambria"/>
              </a:rPr>
              <a:t>~ 750,000 installations</a:t>
            </a:r>
          </a:p>
        </p:txBody>
      </p:sp>
      <p:pic>
        <p:nvPicPr>
          <p:cNvPr id="138" name="Picture 40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096" t="12394" r="11364" b="9838"/>
          <a:stretch/>
        </p:blipFill>
        <p:spPr bwMode="auto">
          <a:xfrm>
            <a:off x="7014389" y="1295397"/>
            <a:ext cx="3692267" cy="44117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009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CC1656A2-C304-FA44-A910-DCF7889C3E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velopme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Renewabl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err="1" smtClean="0"/>
              <a:t>Energy</a:t>
            </a:r>
            <a:r>
              <a:rPr lang="de-DE" dirty="0" smtClean="0"/>
              <a:t> Systems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F236D79-9C78-7B44-8641-FE164EA292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Sources: 50HertzT, </a:t>
            </a:r>
            <a:r>
              <a:rPr lang="en-GB" dirty="0" err="1"/>
              <a:t>TenneT</a:t>
            </a:r>
            <a:r>
              <a:rPr lang="en-GB" dirty="0"/>
              <a:t>, </a:t>
            </a:r>
            <a:r>
              <a:rPr lang="en-GB" dirty="0" err="1"/>
              <a:t>Amprion</a:t>
            </a:r>
            <a:r>
              <a:rPr lang="en-GB" dirty="0"/>
              <a:t>, </a:t>
            </a:r>
            <a:r>
              <a:rPr lang="en-GB" dirty="0" err="1"/>
              <a:t>TransnetBW</a:t>
            </a:r>
            <a:r>
              <a:rPr lang="en-GB" dirty="0"/>
              <a:t>, internal </a:t>
            </a:r>
            <a:r>
              <a:rPr lang="en-GB" dirty="0" smtClean="0"/>
              <a:t>data</a:t>
            </a:r>
            <a:endParaRPr lang="en-GB" dirty="0"/>
          </a:p>
        </p:txBody>
      </p:sp>
      <p:pic>
        <p:nvPicPr>
          <p:cNvPr id="120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547" t="6515" r="21129" b="8001"/>
          <a:stretch/>
        </p:blipFill>
        <p:spPr bwMode="auto">
          <a:xfrm>
            <a:off x="7031586" y="1285023"/>
            <a:ext cx="3674454" cy="4422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" name="Rechteck 121"/>
          <p:cNvSpPr/>
          <p:nvPr/>
        </p:nvSpPr>
        <p:spPr>
          <a:xfrm>
            <a:off x="562121" y="1898150"/>
            <a:ext cx="3742601" cy="38089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2000)</a:t>
            </a:r>
          </a:p>
        </p:txBody>
      </p:sp>
      <p:sp>
        <p:nvSpPr>
          <p:cNvPr id="123" name="Textfeld 10"/>
          <p:cNvSpPr txBox="1">
            <a:spLocks noChangeArrowheads="1"/>
          </p:cNvSpPr>
          <p:nvPr/>
        </p:nvSpPr>
        <p:spPr bwMode="auto">
          <a:xfrm>
            <a:off x="578238" y="2510594"/>
            <a:ext cx="3742006" cy="31015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buClr>
                <a:prstClr val="black"/>
              </a:buClr>
              <a:buSzPct val="100000"/>
              <a:defRPr/>
            </a:pPr>
            <a:r>
              <a:rPr lang="en-GB" sz="1323" b="1" kern="1200" dirty="0">
                <a:solidFill>
                  <a:prstClr val="white"/>
                </a:solidFill>
                <a:uFill>
                  <a:solidFill>
                    <a:prstClr val="black"/>
                  </a:solidFill>
                </a:uFill>
                <a:latin typeface="Cambria"/>
              </a:rPr>
              <a:t>~ 30,000 installations</a:t>
            </a:r>
          </a:p>
        </p:txBody>
      </p:sp>
      <p:grpSp>
        <p:nvGrpSpPr>
          <p:cNvPr id="124" name="Gruppieren 123"/>
          <p:cNvGrpSpPr/>
          <p:nvPr/>
        </p:nvGrpSpPr>
        <p:grpSpPr>
          <a:xfrm>
            <a:off x="1512941" y="3156007"/>
            <a:ext cx="1888463" cy="1512041"/>
            <a:chOff x="6076657" y="3086235"/>
            <a:chExt cx="1998569" cy="1600200"/>
          </a:xfrm>
        </p:grpSpPr>
        <p:sp>
          <p:nvSpPr>
            <p:cNvPr id="126" name="Ellipse 3"/>
            <p:cNvSpPr>
              <a:spLocks noChangeArrowheads="1"/>
            </p:cNvSpPr>
            <p:nvPr/>
          </p:nvSpPr>
          <p:spPr bwMode="auto">
            <a:xfrm>
              <a:off x="6076657" y="3086235"/>
              <a:ext cx="457200" cy="457200"/>
            </a:xfrm>
            <a:prstGeom prst="ellipse">
              <a:avLst/>
            </a:prstGeom>
            <a:solidFill>
              <a:srgbClr val="FF0000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7" name="Ellipse 4"/>
            <p:cNvSpPr>
              <a:spLocks noChangeArrowheads="1"/>
            </p:cNvSpPr>
            <p:nvPr/>
          </p:nvSpPr>
          <p:spPr bwMode="auto">
            <a:xfrm>
              <a:off x="6076657" y="3664085"/>
              <a:ext cx="457200" cy="457200"/>
            </a:xfrm>
            <a:prstGeom prst="ellipse">
              <a:avLst/>
            </a:prstGeom>
            <a:solidFill>
              <a:srgbClr val="FFFF00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8" name="Ellipse 5"/>
            <p:cNvSpPr>
              <a:spLocks noChangeArrowheads="1"/>
            </p:cNvSpPr>
            <p:nvPr/>
          </p:nvSpPr>
          <p:spPr bwMode="auto">
            <a:xfrm>
              <a:off x="6076657" y="4229235"/>
              <a:ext cx="457200" cy="457200"/>
            </a:xfrm>
            <a:prstGeom prst="ellipse">
              <a:avLst/>
            </a:prstGeom>
            <a:solidFill>
              <a:srgbClr val="27FF27"/>
            </a:solidFill>
            <a:ln w="9525" algn="ctr">
              <a:noFill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64017">
                <a:spcBef>
                  <a:spcPct val="0"/>
                </a:spcBef>
                <a:defRPr/>
              </a:pPr>
              <a:endParaRPr lang="en-GB" sz="1606" dirty="0">
                <a:solidFill>
                  <a:srgbClr val="000000"/>
                </a:solidFill>
                <a:latin typeface="Calibri"/>
                <a:cs typeface="Arial"/>
              </a:endParaRPr>
            </a:p>
          </p:txBody>
        </p:sp>
        <p:sp>
          <p:nvSpPr>
            <p:cNvPr id="129" name="Textfeld 6"/>
            <p:cNvSpPr txBox="1">
              <a:spLocks noChangeArrowheads="1"/>
            </p:cNvSpPr>
            <p:nvPr/>
          </p:nvSpPr>
          <p:spPr bwMode="auto">
            <a:xfrm>
              <a:off x="6725383" y="3162435"/>
              <a:ext cx="1349843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Wind energy</a:t>
              </a:r>
            </a:p>
          </p:txBody>
        </p:sp>
        <p:sp>
          <p:nvSpPr>
            <p:cNvPr id="130" name="Textfeld 7"/>
            <p:cNvSpPr txBox="1">
              <a:spLocks noChangeArrowheads="1"/>
            </p:cNvSpPr>
            <p:nvPr/>
          </p:nvSpPr>
          <p:spPr bwMode="auto">
            <a:xfrm>
              <a:off x="6725383" y="3719554"/>
              <a:ext cx="438638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PV</a:t>
              </a:r>
            </a:p>
          </p:txBody>
        </p:sp>
        <p:sp>
          <p:nvSpPr>
            <p:cNvPr id="131" name="Textfeld 8"/>
            <p:cNvSpPr txBox="1">
              <a:spLocks noChangeArrowheads="1"/>
            </p:cNvSpPr>
            <p:nvPr/>
          </p:nvSpPr>
          <p:spPr bwMode="auto">
            <a:xfrm>
              <a:off x="6725383" y="4267335"/>
              <a:ext cx="946968" cy="377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864017">
                <a:spcBef>
                  <a:spcPts val="567"/>
                </a:spcBef>
                <a:defRPr/>
              </a:pPr>
              <a:r>
                <a:rPr lang="en-GB" sz="1606" b="1" dirty="0">
                  <a:solidFill>
                    <a:prstClr val="black"/>
                  </a:solidFill>
                  <a:latin typeface="Calibri"/>
                </a:rPr>
                <a:t>Biomass</a:t>
              </a:r>
            </a:p>
          </p:txBody>
        </p:sp>
      </p:grpSp>
      <p:sp>
        <p:nvSpPr>
          <p:cNvPr id="125" name="Textfeld 10"/>
          <p:cNvSpPr txBox="1">
            <a:spLocks noChangeArrowheads="1"/>
          </p:cNvSpPr>
          <p:nvPr/>
        </p:nvSpPr>
        <p:spPr bwMode="auto">
          <a:xfrm>
            <a:off x="578238" y="4859616"/>
            <a:ext cx="3742006" cy="62119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spcBef>
                <a:spcPts val="567"/>
              </a:spcBef>
              <a:buClr>
                <a:prstClr val="black"/>
              </a:buClr>
              <a:buSzPct val="100000"/>
              <a:defRPr/>
            </a:pPr>
            <a:r>
              <a:rPr lang="en-GB" sz="1606" dirty="0">
                <a:solidFill>
                  <a:prstClr val="black"/>
                </a:solidFill>
                <a:latin typeface="Calibri"/>
              </a:rPr>
              <a:t>The circle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diameter</a:t>
            </a:r>
            <a:r>
              <a:rPr lang="en-GB" sz="1606" dirty="0">
                <a:solidFill>
                  <a:prstClr val="black"/>
                </a:solidFill>
                <a:latin typeface="Calibri"/>
              </a:rPr>
              <a:t> is proportional</a:t>
            </a:r>
            <a:br>
              <a:rPr lang="en-GB" sz="1606" dirty="0">
                <a:solidFill>
                  <a:prstClr val="black"/>
                </a:solidFill>
                <a:latin typeface="Calibri"/>
              </a:rPr>
            </a:br>
            <a:r>
              <a:rPr lang="en-GB" sz="1606" dirty="0">
                <a:solidFill>
                  <a:prstClr val="black"/>
                </a:solidFill>
                <a:latin typeface="Calibri"/>
              </a:rPr>
              <a:t>to the electrical capacity</a:t>
            </a:r>
          </a:p>
        </p:txBody>
      </p:sp>
      <p:sp>
        <p:nvSpPr>
          <p:cNvPr id="133" name="Rechteck 132"/>
          <p:cNvSpPr/>
          <p:nvPr/>
        </p:nvSpPr>
        <p:spPr>
          <a:xfrm>
            <a:off x="562846" y="1893207"/>
            <a:ext cx="3742600" cy="4514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2005)</a:t>
            </a:r>
          </a:p>
        </p:txBody>
      </p:sp>
      <p:sp>
        <p:nvSpPr>
          <p:cNvPr id="134" name="Textfeld 10"/>
          <p:cNvSpPr txBox="1">
            <a:spLocks noChangeArrowheads="1"/>
          </p:cNvSpPr>
          <p:nvPr/>
        </p:nvSpPr>
        <p:spPr bwMode="auto">
          <a:xfrm>
            <a:off x="579600" y="2509200"/>
            <a:ext cx="3742005" cy="31015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buClr>
                <a:prstClr val="black"/>
              </a:buClr>
              <a:buSzPct val="100000"/>
              <a:defRPr/>
            </a:pPr>
            <a:r>
              <a:rPr lang="en-GB" sz="1323" b="1" kern="1200" dirty="0">
                <a:solidFill>
                  <a:prstClr val="white"/>
                </a:solidFill>
                <a:uFill>
                  <a:solidFill>
                    <a:prstClr val="black"/>
                  </a:solidFill>
                </a:uFill>
                <a:latin typeface="Cambria"/>
              </a:rPr>
              <a:t>~ 221,000 installations</a:t>
            </a:r>
          </a:p>
        </p:txBody>
      </p:sp>
      <p:pic>
        <p:nvPicPr>
          <p:cNvPr id="135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70" t="7560" r="22414" b="8121"/>
          <a:stretch/>
        </p:blipFill>
        <p:spPr bwMode="auto">
          <a:xfrm>
            <a:off x="7002906" y="1285130"/>
            <a:ext cx="3721676" cy="444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6" name="Rechteck 135"/>
          <p:cNvSpPr/>
          <p:nvPr/>
        </p:nvSpPr>
        <p:spPr>
          <a:xfrm>
            <a:off x="561397" y="1899252"/>
            <a:ext cx="3742601" cy="5603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050" tIns="102050" rIns="102050" bIns="10205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64017">
              <a:spcBef>
                <a:spcPts val="567"/>
              </a:spcBef>
              <a:defRPr/>
            </a:pPr>
            <a:r>
              <a:rPr lang="en-GB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GB" sz="1606" b="1" dirty="0" smtClean="0">
                <a:solidFill>
                  <a:prstClr val="black"/>
                </a:solidFill>
                <a:latin typeface="Calibri"/>
              </a:rPr>
              <a:t>renewables (End </a:t>
            </a:r>
            <a:r>
              <a:rPr lang="en-GB" sz="1606" b="1" dirty="0">
                <a:solidFill>
                  <a:prstClr val="black"/>
                </a:solidFill>
                <a:latin typeface="Calibri"/>
              </a:rPr>
              <a:t>2010)</a:t>
            </a:r>
          </a:p>
        </p:txBody>
      </p:sp>
      <p:sp>
        <p:nvSpPr>
          <p:cNvPr id="137" name="Textfeld 10"/>
          <p:cNvSpPr txBox="1">
            <a:spLocks noChangeArrowheads="1"/>
          </p:cNvSpPr>
          <p:nvPr/>
        </p:nvSpPr>
        <p:spPr bwMode="auto">
          <a:xfrm>
            <a:off x="579600" y="2509200"/>
            <a:ext cx="3742006" cy="31015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864017">
              <a:buClr>
                <a:prstClr val="black"/>
              </a:buClr>
              <a:buSzPct val="100000"/>
              <a:defRPr/>
            </a:pPr>
            <a:r>
              <a:rPr lang="en-GB" sz="1323" b="1" kern="1200" dirty="0">
                <a:solidFill>
                  <a:prstClr val="white"/>
                </a:solidFill>
                <a:uFill>
                  <a:solidFill>
                    <a:prstClr val="black"/>
                  </a:solidFill>
                </a:uFill>
                <a:latin typeface="Cambria"/>
              </a:rPr>
              <a:t>~ 750,000 installations</a:t>
            </a:r>
          </a:p>
        </p:txBody>
      </p:sp>
      <p:pic>
        <p:nvPicPr>
          <p:cNvPr id="138" name="Picture 40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096" t="12394" r="11364" b="9838"/>
          <a:stretch/>
        </p:blipFill>
        <p:spPr bwMode="auto">
          <a:xfrm>
            <a:off x="7014389" y="1295397"/>
            <a:ext cx="3692267" cy="44117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/>
        </p:nvSpPr>
        <p:spPr>
          <a:xfrm>
            <a:off x="570290" y="1953827"/>
            <a:ext cx="5759450" cy="3567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r>
              <a:rPr lang="en-US" sz="1606" b="1" dirty="0">
                <a:solidFill>
                  <a:prstClr val="black"/>
                </a:solidFill>
                <a:latin typeface="Calibri"/>
              </a:rPr>
              <a:t>Total capacity of </a:t>
            </a:r>
            <a:r>
              <a:rPr lang="en-US" sz="1606" b="1" dirty="0" smtClean="0">
                <a:solidFill>
                  <a:prstClr val="black"/>
                </a:solidFill>
                <a:latin typeface="Calibri"/>
              </a:rPr>
              <a:t>renewables (2020</a:t>
            </a:r>
            <a:r>
              <a:rPr lang="en-US" sz="1606" b="1" dirty="0">
                <a:solidFill>
                  <a:prstClr val="black"/>
                </a:solidFill>
                <a:latin typeface="Calibri"/>
              </a:rPr>
              <a:t>)</a:t>
            </a:r>
          </a:p>
        </p:txBody>
      </p:sp>
      <p:sp>
        <p:nvSpPr>
          <p:cNvPr id="141" name="Textfeld 10"/>
          <p:cNvSpPr txBox="1">
            <a:spLocks noChangeArrowheads="1"/>
          </p:cNvSpPr>
          <p:nvPr/>
        </p:nvSpPr>
        <p:spPr bwMode="auto">
          <a:xfrm>
            <a:off x="579600" y="2509200"/>
            <a:ext cx="3740400" cy="30960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>
                  <a:solidFill>
                    <a:prstClr val="black"/>
                  </a:solidFill>
                </a:uFill>
                <a:latin typeface="Cambria"/>
                <a:ea typeface="ＭＳ Ｐゴシック" pitchFamily="34" charset="-128"/>
                <a:cs typeface="+mn-cs"/>
              </a:rPr>
              <a:t>&gt;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>
                  <a:solidFill>
                    <a:prstClr val="black"/>
                  </a:solidFill>
                </a:uFill>
                <a:latin typeface="Cambria"/>
                <a:ea typeface="ＭＳ Ｐゴシック" pitchFamily="34" charset="-128"/>
                <a:cs typeface="+mn-cs"/>
              </a:rPr>
              <a:t> 1.8 million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>
                  <a:solidFill>
                    <a:prstClr val="black"/>
                  </a:solidFill>
                </a:uFill>
                <a:latin typeface="Cambria"/>
                <a:ea typeface="ＭＳ Ｐゴシック" pitchFamily="34" charset="-128"/>
                <a:cs typeface="+mn-cs"/>
              </a:rPr>
              <a:t>installations</a:t>
            </a:r>
          </a:p>
        </p:txBody>
      </p:sp>
      <p:pic>
        <p:nvPicPr>
          <p:cNvPr id="142" name="Picture 2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826" t="8143" r="42486" b="-282"/>
          <a:stretch/>
        </p:blipFill>
        <p:spPr bwMode="auto">
          <a:xfrm>
            <a:off x="6987731" y="1295397"/>
            <a:ext cx="3745181" cy="4447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4591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  <a14:imgEffect>
                      <a14:brightnessContrast bright="29000" contrast="-49000"/>
                    </a14:imgEffect>
                  </a14:imgLayer>
                </a14:imgProps>
              </a:ext>
            </a:extLst>
          </a:blip>
          <a:srcRect/>
          <a:stretch>
            <a:fillRect t="-24000" b="-2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51849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3528" b="1" i="0" u="none" strike="noStrike" kern="60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+mn-ea"/>
              <a:cs typeface="+mn-cs"/>
              <a:sym typeface="Cambria" panose="02040503050406030204" pitchFamily="18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656026" y="5525149"/>
            <a:ext cx="10205157" cy="414938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Chart shows renewable share </a:t>
            </a:r>
            <a:r>
              <a:rPr lang="en-US" dirty="0"/>
              <a:t>of gross electricity </a:t>
            </a:r>
            <a:r>
              <a:rPr lang="en-US" dirty="0" smtClean="0"/>
              <a:t>consumption and goals according to the Germany Energy Concept 2010 and 2017</a:t>
            </a:r>
            <a:endParaRPr lang="de-DE" dirty="0" smtClean="0"/>
          </a:p>
          <a:p>
            <a:r>
              <a:rPr lang="de-DE" dirty="0" smtClean="0"/>
              <a:t>Source: </a:t>
            </a:r>
            <a:r>
              <a:rPr lang="de-DE" dirty="0" err="1" smtClean="0"/>
              <a:t>BMWi</a:t>
            </a:r>
            <a:r>
              <a:rPr lang="de-DE" dirty="0" smtClean="0"/>
              <a:t>, 2019 </a:t>
            </a:r>
            <a:r>
              <a:rPr lang="de-DE" dirty="0" err="1" smtClean="0"/>
              <a:t>and</a:t>
            </a:r>
            <a:r>
              <a:rPr lang="de-DE" dirty="0" smtClean="0"/>
              <a:t> BDEW, 2020</a:t>
            </a:r>
            <a:endParaRPr lang="en-US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56028" y="180087"/>
            <a:ext cx="10205157" cy="566944"/>
          </a:xfrm>
        </p:spPr>
        <p:txBody>
          <a:bodyPr/>
          <a:lstStyle/>
          <a:p>
            <a:r>
              <a:rPr lang="en-US" dirty="0" smtClean="0"/>
              <a:t>Renewable Electricity in Germany</a:t>
            </a:r>
            <a:endParaRPr lang="en-US" dirty="0"/>
          </a:p>
        </p:txBody>
      </p:sp>
      <p:graphicFrame>
        <p:nvGraphicFramePr>
          <p:cNvPr id="9" name="Diagramm 8"/>
          <p:cNvGraphicFramePr>
            <a:graphicFrameLocks/>
          </p:cNvGraphicFramePr>
          <p:nvPr>
            <p:extLst/>
          </p:nvPr>
        </p:nvGraphicFramePr>
        <p:xfrm>
          <a:off x="720243" y="1620087"/>
          <a:ext cx="10140939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4790801" y="2522365"/>
            <a:ext cx="720000" cy="532631"/>
          </a:xfrm>
          <a:prstGeom prst="rect">
            <a:avLst/>
          </a:prstGeom>
          <a:noFill/>
        </p:spPr>
        <p:txBody>
          <a:bodyPr wrap="square" lIns="68033" tIns="68033" rIns="68033" bIns="68033" rtlCol="0">
            <a:spAutoFit/>
          </a:bodyPr>
          <a:lstStyle/>
          <a:p>
            <a:pPr marL="0" marR="0" lvl="0" indent="0" algn="ctr" defTabSz="864017" rtl="0" eaLnBrk="1" fontAlgn="auto" latinLnBrk="0" hangingPunct="1">
              <a:lnSpc>
                <a:spcPct val="107000"/>
              </a:lnSpc>
              <a:spcBef>
                <a:spcPts val="5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600" cap="none" spc="0" normalizeH="0" baseline="0" noProof="0" dirty="0" smtClean="0">
                <a:ln>
                  <a:noFill/>
                </a:ln>
                <a:solidFill>
                  <a:srgbClr val="008BD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0.2% </a:t>
            </a:r>
            <a:r>
              <a:rPr kumimoji="0" lang="de-DE" sz="1200" b="0" i="0" u="none" strike="noStrike" kern="600" cap="none" spc="0" normalizeH="0" baseline="0" noProof="0" dirty="0">
                <a:ln>
                  <a:noFill/>
                </a:ln>
                <a:solidFill>
                  <a:srgbClr val="008BD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de-DE" sz="1200" b="0" i="0" u="none" strike="noStrike" kern="600" cap="none" spc="0" normalizeH="0" baseline="0" noProof="0" dirty="0">
                <a:ln>
                  <a:noFill/>
                </a:ln>
                <a:solidFill>
                  <a:srgbClr val="008BD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de-DE" sz="1200" b="0" i="0" u="none" strike="noStrike" kern="600" cap="none" spc="0" normalizeH="0" baseline="0" noProof="0" dirty="0" smtClean="0">
                <a:ln>
                  <a:noFill/>
                </a:ln>
                <a:solidFill>
                  <a:srgbClr val="008BD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1 2020</a:t>
            </a:r>
            <a:endParaRPr kumimoji="0" lang="de-DE" sz="1200" b="0" i="0" u="none" strike="noStrike" kern="600" cap="none" spc="0" normalizeH="0" baseline="0" noProof="0" dirty="0">
              <a:ln>
                <a:noFill/>
              </a:ln>
              <a:solidFill>
                <a:srgbClr val="008BD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Gerader Verbinder 4"/>
          <p:cNvCxnSpPr/>
          <p:nvPr/>
        </p:nvCxnSpPr>
        <p:spPr>
          <a:xfrm>
            <a:off x="4986338" y="3283744"/>
            <a:ext cx="45243" cy="28575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5019675" y="3221831"/>
            <a:ext cx="54769" cy="35719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5055394" y="3159919"/>
            <a:ext cx="57150" cy="40481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5103019" y="3112294"/>
            <a:ext cx="47625" cy="30956"/>
          </a:xfrm>
          <a:prstGeom prst="line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526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 uiExpand="1">
        <p:bldSub>
          <a:bldChart bld="series" animBg="0"/>
        </p:bldSub>
      </p:bldGraphic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30000" contrast="-58000"/>
                    </a14:imgEffect>
                  </a14:imgLayer>
                </a14:imgProps>
              </a:ext>
            </a:extLst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151849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3528" b="1" i="0" u="none" strike="noStrike" kern="60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+mn-ea"/>
              <a:cs typeface="+mn-cs"/>
              <a:sym typeface="Cambria" panose="02040503050406030204" pitchFamily="18" charset="0"/>
            </a:endParaRPr>
          </a:p>
        </p:txBody>
      </p:sp>
      <p:graphicFrame>
        <p:nvGraphicFramePr>
          <p:cNvPr id="9" name="Diagrammplatzhalter 8"/>
          <p:cNvGraphicFramePr>
            <a:graphicFrameLocks noGrp="1"/>
          </p:cNvGraphicFramePr>
          <p:nvPr>
            <p:ph type="chart" sz="quarter" idx="16"/>
            <p:extLst/>
          </p:nvPr>
        </p:nvGraphicFramePr>
        <p:xfrm>
          <a:off x="655638" y="1800087"/>
          <a:ext cx="10206037" cy="3725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655638" y="5580087"/>
            <a:ext cx="10205157" cy="255007"/>
          </a:xfrm>
        </p:spPr>
        <p:txBody>
          <a:bodyPr/>
          <a:lstStyle/>
          <a:p>
            <a:r>
              <a:rPr lang="en-GB" dirty="0" smtClean="0"/>
              <a:t>Based on chart by Felix Chr. </a:t>
            </a:r>
            <a:r>
              <a:rPr lang="en-GB" dirty="0" err="1" smtClean="0"/>
              <a:t>Matthes</a:t>
            </a:r>
            <a:r>
              <a:rPr lang="en-GB" dirty="0" smtClean="0"/>
              <a:t>, </a:t>
            </a:r>
            <a:r>
              <a:rPr lang="en-GB" dirty="0" err="1" smtClean="0"/>
              <a:t>Öko-Institut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* </a:t>
            </a:r>
            <a:r>
              <a:rPr lang="en-US" dirty="0"/>
              <a:t>Installed capacity according to Coal Exit Law (KVBG) in GW at end of </a:t>
            </a:r>
            <a:r>
              <a:rPr lang="en-US" dirty="0" smtClean="0"/>
              <a:t>respective year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 smtClean="0"/>
              <a:t>No coal by 2038 at the latest</a:t>
            </a: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ermany’s Exit from Coal Pow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1779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>
                <a:solidFill>
                  <a:srgbClr val="429F34"/>
                </a:solidFill>
              </a:rPr>
              <a:t>Energiewende</a:t>
            </a:r>
            <a:r>
              <a:rPr lang="en-US" dirty="0" smtClean="0">
                <a:solidFill>
                  <a:srgbClr val="429F34"/>
                </a:solidFill>
              </a:rPr>
              <a:t> </a:t>
            </a:r>
            <a:r>
              <a:rPr lang="en-US" dirty="0" smtClean="0"/>
              <a:t>is </a:t>
            </a:r>
            <a:r>
              <a:rPr lang="en-US" dirty="0"/>
              <a:t>Germany’s effort to reduce </a:t>
            </a:r>
            <a:r>
              <a:rPr lang="en-US" dirty="0" smtClean="0"/>
              <a:t>greenhouse gas emissions </a:t>
            </a:r>
            <a:r>
              <a:rPr lang="en-US" dirty="0"/>
              <a:t>without relying on nuclear energy</a:t>
            </a:r>
            <a:r>
              <a:rPr lang="en-US" dirty="0" smtClean="0"/>
              <a:t>.</a:t>
            </a:r>
          </a:p>
          <a:p>
            <a:endParaRPr lang="en-US" dirty="0" smtClean="0"/>
          </a:p>
          <a:p>
            <a:r>
              <a:rPr lang="en-US" dirty="0" smtClean="0"/>
              <a:t>This means transforming electricity generation, buildings, industry, transportation, agriculture, and mor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08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628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0A15880-D2EA-1447-8F7E-538F187F913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 err="1" smtClean="0"/>
              <a:t>Sources</a:t>
            </a:r>
            <a:r>
              <a:rPr lang="de-DE" dirty="0" smtClean="0"/>
              <a:t>: </a:t>
            </a:r>
            <a:r>
              <a:rPr lang="de-DE" dirty="0"/>
              <a:t>Deutsche </a:t>
            </a:r>
            <a:r>
              <a:rPr lang="de-DE" dirty="0" err="1"/>
              <a:t>WindGuard</a:t>
            </a:r>
            <a:r>
              <a:rPr lang="de-DE" dirty="0"/>
              <a:t>, </a:t>
            </a:r>
            <a:r>
              <a:rPr lang="de-DE" dirty="0" smtClean="0"/>
              <a:t>2020, </a:t>
            </a:r>
            <a:r>
              <a:rPr lang="de-DE" dirty="0" err="1" smtClean="0"/>
              <a:t>BMWi</a:t>
            </a:r>
            <a:r>
              <a:rPr lang="de-DE" dirty="0" smtClean="0"/>
              <a:t> 2020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40244" y="360090"/>
            <a:ext cx="10620000" cy="539998"/>
          </a:xfrm>
        </p:spPr>
        <p:txBody>
          <a:bodyPr vert="horz"/>
          <a:lstStyle/>
          <a:p>
            <a:r>
              <a:rPr lang="de-DE" sz="3400" dirty="0" smtClean="0"/>
              <a:t>Future Offshore Wind Development – 40 GW </a:t>
            </a:r>
            <a:r>
              <a:rPr lang="de-DE" sz="3400" dirty="0"/>
              <a:t>in 2040 </a:t>
            </a:r>
          </a:p>
        </p:txBody>
      </p:sp>
      <p:sp>
        <p:nvSpPr>
          <p:cNvPr id="9" name="Textfeld 8"/>
          <p:cNvSpPr txBox="1"/>
          <p:nvPr/>
        </p:nvSpPr>
        <p:spPr>
          <a:xfrm rot="16200000">
            <a:off x="-528180" y="3032592"/>
            <a:ext cx="2480929" cy="37591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 smtClean="0"/>
              <a:t>Annual </a:t>
            </a:r>
            <a:r>
              <a:rPr lang="de-DE" sz="1400" dirty="0" err="1" smtClean="0"/>
              <a:t>Additions</a:t>
            </a:r>
            <a:r>
              <a:rPr lang="de-DE" sz="1400" dirty="0" smtClean="0"/>
              <a:t> (in MW)</a:t>
            </a:r>
          </a:p>
        </p:txBody>
      </p:sp>
      <p:sp>
        <p:nvSpPr>
          <p:cNvPr id="10" name="Textfeld 9"/>
          <p:cNvSpPr txBox="1"/>
          <p:nvPr/>
        </p:nvSpPr>
        <p:spPr>
          <a:xfrm rot="5400000">
            <a:off x="8998207" y="3062125"/>
            <a:ext cx="2899994" cy="37591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e-DE" sz="1400" dirty="0" err="1" smtClean="0"/>
              <a:t>Cumulative</a:t>
            </a:r>
            <a:r>
              <a:rPr lang="de-DE" sz="1400" dirty="0" smtClean="0"/>
              <a:t> </a:t>
            </a:r>
            <a:r>
              <a:rPr lang="de-DE" sz="1400" dirty="0" err="1" smtClean="0"/>
              <a:t>Capacity</a:t>
            </a:r>
            <a:r>
              <a:rPr lang="de-DE" sz="1400" dirty="0" smtClean="0"/>
              <a:t> (in MW)</a:t>
            </a:r>
          </a:p>
        </p:txBody>
      </p:sp>
      <p:graphicFrame>
        <p:nvGraphicFramePr>
          <p:cNvPr id="11" name="Diagrammplatzhalter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9767515"/>
              </p:ext>
            </p:extLst>
          </p:nvPr>
        </p:nvGraphicFramePr>
        <p:xfrm>
          <a:off x="1080244" y="1095009"/>
          <a:ext cx="9000000" cy="48256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26016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S4hMg3aQ66acBzrrxM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3kLfp3Rn7o.WxdZmbD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xtmaster">
  <a:themeElements>
    <a:clrScheme name="GTAI_Colours_16zu9">
      <a:dk1>
        <a:srgbClr val="000000"/>
      </a:dk1>
      <a:lt1>
        <a:srgbClr val="FFFFFF"/>
      </a:lt1>
      <a:dk2>
        <a:srgbClr val="008BD2"/>
      </a:dk2>
      <a:lt2>
        <a:srgbClr val="E5E5E5"/>
      </a:lt2>
      <a:accent1>
        <a:srgbClr val="DADADA"/>
      </a:accent1>
      <a:accent2>
        <a:srgbClr val="C6C6C6"/>
      </a:accent2>
      <a:accent3>
        <a:srgbClr val="B2B2B2"/>
      </a:accent3>
      <a:accent4>
        <a:srgbClr val="9D9D9D"/>
      </a:accent4>
      <a:accent5>
        <a:srgbClr val="878787"/>
      </a:accent5>
      <a:accent6>
        <a:srgbClr val="6F6F6F"/>
      </a:accent6>
      <a:hlink>
        <a:srgbClr val="008BD2"/>
      </a:hlink>
      <a:folHlink>
        <a:srgbClr val="008BD2"/>
      </a:folHlink>
    </a:clrScheme>
    <a:fontScheme name="GTAI Praesentation">
      <a:majorFont>
        <a:latin typeface="Cambria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00000"/>
          </a:lnSpc>
          <a:spcBef>
            <a:spcPts val="600"/>
          </a:spcBef>
          <a:defRPr sz="8000" dirty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72000" tIns="72000" rIns="72000" bIns="72000" rtlCol="0">
        <a:spAutoFit/>
      </a:bodyPr>
      <a:lstStyle>
        <a:defPPr marL="285750" indent="-285750">
          <a:spcBef>
            <a:spcPts val="600"/>
          </a:spcBef>
          <a:buFont typeface="Calibri" pitchFamily="34" charset="0"/>
          <a:buChar char="•"/>
          <a:defRPr dirty="0" err="1" smtClean="0"/>
        </a:defPPr>
      </a:lstStyle>
    </a:txDef>
  </a:objectDefaults>
  <a:extraClrSchemeLst/>
  <a:custClrLst>
    <a:custClr name="GTAI Rot">
      <a:srgbClr val="E61C63"/>
    </a:custClr>
    <a:custClr name="GTAI Grün">
      <a:srgbClr val="429F3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PowerPoint_Mastervorlage-Corporate_ENG_16zu9">
  <a:themeElements>
    <a:clrScheme name="GTAI 2016">
      <a:dk1>
        <a:sysClr val="windowText" lastClr="000000"/>
      </a:dk1>
      <a:lt1>
        <a:sysClr val="window" lastClr="FFFFFF"/>
      </a:lt1>
      <a:dk2>
        <a:srgbClr val="008BD2"/>
      </a:dk2>
      <a:lt2>
        <a:srgbClr val="DADADA"/>
      </a:lt2>
      <a:accent1>
        <a:srgbClr val="575757"/>
      </a:accent1>
      <a:accent2>
        <a:srgbClr val="6F6F6F"/>
      </a:accent2>
      <a:accent3>
        <a:srgbClr val="878787"/>
      </a:accent3>
      <a:accent4>
        <a:srgbClr val="9D9D9D"/>
      </a:accent4>
      <a:accent5>
        <a:srgbClr val="B2B2B2"/>
      </a:accent5>
      <a:accent6>
        <a:srgbClr val="C6C6C6"/>
      </a:accent6>
      <a:hlink>
        <a:srgbClr val="008BD2"/>
      </a:hlink>
      <a:folHlink>
        <a:srgbClr val="008BD2"/>
      </a:folHlink>
    </a:clrScheme>
    <a:fontScheme name="GTAI Praesentation">
      <a:majorFont>
        <a:latin typeface="Cambria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216000" indent="-216000" algn="l">
          <a:spcBef>
            <a:spcPts val="600"/>
          </a:spcBef>
          <a:buFont typeface="Calibri" pitchFamily="34" charset="0"/>
          <a:buChar char="•"/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72000" tIns="72000" rIns="72000" bIns="72000" rtlCol="0">
        <a:spAutoFit/>
      </a:bodyPr>
      <a:lstStyle>
        <a:defPPr marL="285750" indent="-285750">
          <a:spcBef>
            <a:spcPts val="600"/>
          </a:spcBef>
          <a:buFont typeface="Calibri" pitchFamily="34" charset="0"/>
          <a:buChar char="•"/>
          <a:defRPr dirty="0" err="1" smtClean="0"/>
        </a:defPPr>
      </a:lstStyle>
    </a:txDef>
  </a:objectDefaults>
  <a:extraClrSchemeLst/>
  <a:custClrLst>
    <a:custClr name="GTAI Rot">
      <a:srgbClr val="E61C63"/>
    </a:custClr>
    <a:custClr name="GTAI Grün">
      <a:srgbClr val="429F3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3.xml><?xml version="1.0" encoding="utf-8"?>
<a:theme xmlns:a="http://schemas.openxmlformats.org/drawingml/2006/main" name="Larissa">
  <a:themeElements>
    <a:clrScheme name="GTAI 2016">
      <a:dk1>
        <a:sysClr val="windowText" lastClr="000000"/>
      </a:dk1>
      <a:lt1>
        <a:sysClr val="window" lastClr="FFFFFF"/>
      </a:lt1>
      <a:dk2>
        <a:srgbClr val="008BD2"/>
      </a:dk2>
      <a:lt2>
        <a:srgbClr val="DADADA"/>
      </a:lt2>
      <a:accent1>
        <a:srgbClr val="575757"/>
      </a:accent1>
      <a:accent2>
        <a:srgbClr val="6F6F6F"/>
      </a:accent2>
      <a:accent3>
        <a:srgbClr val="878787"/>
      </a:accent3>
      <a:accent4>
        <a:srgbClr val="9D9D9D"/>
      </a:accent4>
      <a:accent5>
        <a:srgbClr val="B2B2B2"/>
      </a:accent5>
      <a:accent6>
        <a:srgbClr val="C6C6C6"/>
      </a:accent6>
      <a:hlink>
        <a:srgbClr val="008BD2"/>
      </a:hlink>
      <a:folHlink>
        <a:srgbClr val="008BD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GTAI 2016">
      <a:dk1>
        <a:sysClr val="windowText" lastClr="000000"/>
      </a:dk1>
      <a:lt1>
        <a:sysClr val="window" lastClr="FFFFFF"/>
      </a:lt1>
      <a:dk2>
        <a:srgbClr val="008BD2"/>
      </a:dk2>
      <a:lt2>
        <a:srgbClr val="DADADA"/>
      </a:lt2>
      <a:accent1>
        <a:srgbClr val="575757"/>
      </a:accent1>
      <a:accent2>
        <a:srgbClr val="6F6F6F"/>
      </a:accent2>
      <a:accent3>
        <a:srgbClr val="878787"/>
      </a:accent3>
      <a:accent4>
        <a:srgbClr val="9D9D9D"/>
      </a:accent4>
      <a:accent5>
        <a:srgbClr val="B2B2B2"/>
      </a:accent5>
      <a:accent6>
        <a:srgbClr val="C6C6C6"/>
      </a:accent6>
      <a:hlink>
        <a:srgbClr val="008BD2"/>
      </a:hlink>
      <a:folHlink>
        <a:srgbClr val="008BD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0226_Testfolien</Template>
  <TotalTime>0</TotalTime>
  <Words>1138</Words>
  <Application>Microsoft Office PowerPoint</Application>
  <PresentationFormat>Benutzerdefiniert</PresentationFormat>
  <Paragraphs>202</Paragraphs>
  <Slides>17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7" baseType="lpstr">
      <vt:lpstr>ＭＳ Ｐゴシック</vt:lpstr>
      <vt:lpstr>Arial</vt:lpstr>
      <vt:lpstr>Calibri</vt:lpstr>
      <vt:lpstr>Cambria</vt:lpstr>
      <vt:lpstr>Symbol</vt:lpstr>
      <vt:lpstr>Times New Roman</vt:lpstr>
      <vt:lpstr>Wingdings</vt:lpstr>
      <vt:lpstr>Textmaster</vt:lpstr>
      <vt:lpstr>PowerPoint_Mastervorlage-Corporate_ENG_16zu9</vt:lpstr>
      <vt:lpstr>think-cell Folie</vt:lpstr>
      <vt:lpstr>Business Opportunities  with Green Energy in Germany</vt:lpstr>
      <vt:lpstr>Development of Renewable Energy Systems</vt:lpstr>
      <vt:lpstr>Development of Renewable Energy Systems</vt:lpstr>
      <vt:lpstr>Development of Renewable Energy Systems</vt:lpstr>
      <vt:lpstr>Development of Renewable Energy Systems</vt:lpstr>
      <vt:lpstr>Renewable Electricity in Germany</vt:lpstr>
      <vt:lpstr>Germany’s Exit from Coal Power</vt:lpstr>
      <vt:lpstr>PowerPoint-Präsentation</vt:lpstr>
      <vt:lpstr>Future Offshore Wind Development – 40 GW in 2040 </vt:lpstr>
      <vt:lpstr>Pillars of the Market Transformation</vt:lpstr>
      <vt:lpstr>Changing Power Structure</vt:lpstr>
      <vt:lpstr>Smart Meter Roll-Out – a chance for innovative technologies, new business models &amp; flexible tariffs</vt:lpstr>
      <vt:lpstr>2020: EV Market Takes Off -  Charging Infrastructure Following</vt:lpstr>
      <vt:lpstr>Germany’s Energy Market Will Look Different By 2035</vt:lpstr>
      <vt:lpstr>Germany’s National Hydrogen Strategy</vt:lpstr>
      <vt:lpstr>The Economic Development Agency of Germany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Kann zweizeilig</dc:title>
  <dc:subject>PowerPoint Vorlage</dc:subject>
  <dc:creator>Look, Nils</dc:creator>
  <dc:description>Für die PowerPoint Version 2010 optimierte Vorlage</dc:description>
  <cp:lastModifiedBy>Grigoleit, Thomas</cp:lastModifiedBy>
  <cp:revision>358</cp:revision>
  <cp:lastPrinted>2020-11-30T10:04:37Z</cp:lastPrinted>
  <dcterms:created xsi:type="dcterms:W3CDTF">2018-06-13T11:21:13Z</dcterms:created>
  <dcterms:modified xsi:type="dcterms:W3CDTF">2021-04-21T16:48:24Z</dcterms:modified>
</cp:coreProperties>
</file>